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harts/chart1.xml" ContentType="application/vnd.openxmlformats-officedocument.drawingml.chart+xml"/>
  <Override PartName="/ppt/charts/chart10.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charts/chart148.xml" ContentType="application/vnd.openxmlformats-officedocument.drawingml.chart+xml"/>
  <Override PartName="/ppt/charts/chart149.xml" ContentType="application/vnd.openxmlformats-officedocument.drawingml.chart+xml"/>
  <Override PartName="/ppt/charts/chart15.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charts/chart178.xml" ContentType="application/vnd.openxmlformats-officedocument.drawingml.chart+xml"/>
  <Override PartName="/ppt/charts/chart179.xml" ContentType="application/vnd.openxmlformats-officedocument.drawingml.chart+xml"/>
  <Override PartName="/ppt/charts/chart18.xml" ContentType="application/vnd.openxmlformats-officedocument.drawingml.chart+xml"/>
  <Override PartName="/ppt/charts/chart180.xml" ContentType="application/vnd.openxmlformats-officedocument.drawingml.chart+xml"/>
  <Override PartName="/ppt/charts/chart181.xml" ContentType="application/vnd.openxmlformats-officedocument.drawingml.chart+xml"/>
  <Override PartName="/ppt/charts/chart182.xml" ContentType="application/vnd.openxmlformats-officedocument.drawingml.chart+xml"/>
  <Override PartName="/ppt/charts/chart183.xml" ContentType="application/vnd.openxmlformats-officedocument.drawingml.chart+xml"/>
  <Override PartName="/ppt/charts/chart184.xml" ContentType="application/vnd.openxmlformats-officedocument.drawingml.chart+xml"/>
  <Override PartName="/ppt/charts/chart185.xml" ContentType="application/vnd.openxmlformats-officedocument.drawingml.chart+xml"/>
  <Override PartName="/ppt/charts/chart186.xml" ContentType="application/vnd.openxmlformats-officedocument.drawingml.chart+xml"/>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xml" ContentType="application/vnd.openxmlformats-officedocument.drawingml.chart+xml"/>
  <Override PartName="/ppt/charts/chart20.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charts/chart209.xml" ContentType="application/vnd.openxmlformats-officedocument.drawingml.chart+xml"/>
  <Override PartName="/ppt/charts/chart21.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charts/chart223.xml" ContentType="application/vnd.openxmlformats-officedocument.drawingml.chart+xml"/>
  <Override PartName="/ppt/charts/chart224.xml" ContentType="application/vnd.openxmlformats-officedocument.drawingml.chart+xml"/>
  <Override PartName="/ppt/charts/chart225.xml" ContentType="application/vnd.openxmlformats-officedocument.drawingml.chart+xml"/>
  <Override PartName="/ppt/charts/chart226.xml" ContentType="application/vnd.openxmlformats-officedocument.drawingml.chart+xml"/>
  <Override PartName="/ppt/charts/chart227.xml" ContentType="application/vnd.openxmlformats-officedocument.drawingml.chart+xml"/>
  <Override PartName="/ppt/charts/chart228.xml" ContentType="application/vnd.openxmlformats-officedocument.drawingml.chart+xml"/>
  <Override PartName="/ppt/charts/chart229.xml" ContentType="application/vnd.openxmlformats-officedocument.drawingml.chart+xml"/>
  <Override PartName="/ppt/charts/chart23.xml" ContentType="application/vnd.openxmlformats-officedocument.drawingml.chart+xml"/>
  <Override PartName="/ppt/charts/chart230.xml" ContentType="application/vnd.openxmlformats-officedocument.drawingml.chart+xml"/>
  <Override PartName="/ppt/charts/chart231.xml" ContentType="application/vnd.openxmlformats-officedocument.drawingml.chart+xml"/>
  <Override PartName="/ppt/charts/chart232.xml" ContentType="application/vnd.openxmlformats-officedocument.drawingml.chart+xml"/>
  <Override PartName="/ppt/charts/chart233.xml" ContentType="application/vnd.openxmlformats-officedocument.drawingml.chart+xml"/>
  <Override PartName="/ppt/charts/chart234.xml" ContentType="application/vnd.openxmlformats-officedocument.drawingml.chart+xml"/>
  <Override PartName="/ppt/charts/chart235.xml" ContentType="application/vnd.openxmlformats-officedocument.drawingml.chart+xml"/>
  <Override PartName="/ppt/charts/chart236.xml" ContentType="application/vnd.openxmlformats-officedocument.drawingml.chart+xml"/>
  <Override PartName="/ppt/charts/chart237.xml" ContentType="application/vnd.openxmlformats-officedocument.drawingml.chart+xml"/>
  <Override PartName="/ppt/charts/chart238.xml" ContentType="application/vnd.openxmlformats-officedocument.drawingml.chart+xml"/>
  <Override PartName="/ppt/charts/chart239.xml" ContentType="application/vnd.openxmlformats-officedocument.drawingml.chart+xml"/>
  <Override PartName="/ppt/charts/chart24.xml" ContentType="application/vnd.openxmlformats-officedocument.drawingml.chart+xml"/>
  <Override PartName="/ppt/charts/chart240.xml" ContentType="application/vnd.openxmlformats-officedocument.drawingml.chart+xml"/>
  <Override PartName="/ppt/charts/chart241.xml" ContentType="application/vnd.openxmlformats-officedocument.drawingml.chart+xml"/>
  <Override PartName="/ppt/charts/chart242.xml" ContentType="application/vnd.openxmlformats-officedocument.drawingml.chart+xml"/>
  <Override PartName="/ppt/charts/chart243.xml" ContentType="application/vnd.openxmlformats-officedocument.drawingml.chart+xml"/>
  <Override PartName="/ppt/charts/chart244.xml" ContentType="application/vnd.openxmlformats-officedocument.drawingml.chart+xml"/>
  <Override PartName="/ppt/charts/chart245.xml" ContentType="application/vnd.openxmlformats-officedocument.drawingml.chart+xml"/>
  <Override PartName="/ppt/charts/chart246.xml" ContentType="application/vnd.openxmlformats-officedocument.drawingml.chart+xml"/>
  <Override PartName="/ppt/charts/chart247.xml" ContentType="application/vnd.openxmlformats-officedocument.drawingml.chart+xml"/>
  <Override PartName="/ppt/charts/chart248.xml" ContentType="application/vnd.openxmlformats-officedocument.drawingml.chart+xml"/>
  <Override PartName="/ppt/charts/chart249.xml" ContentType="application/vnd.openxmlformats-officedocument.drawingml.chart+xml"/>
  <Override PartName="/ppt/charts/chart25.xml" ContentType="application/vnd.openxmlformats-officedocument.drawingml.chart+xml"/>
  <Override PartName="/ppt/charts/chart250.xml" ContentType="application/vnd.openxmlformats-officedocument.drawingml.chart+xml"/>
  <Override PartName="/ppt/charts/chart251.xml" ContentType="application/vnd.openxmlformats-officedocument.drawingml.chart+xml"/>
  <Override PartName="/ppt/charts/chart252.xml" ContentType="application/vnd.openxmlformats-officedocument.drawingml.chart+xml"/>
  <Override PartName="/ppt/charts/chart253.xml" ContentType="application/vnd.openxmlformats-officedocument.drawingml.chart+xml"/>
  <Override PartName="/ppt/charts/chart254.xml" ContentType="application/vnd.openxmlformats-officedocument.drawingml.chart+xml"/>
  <Override PartName="/ppt/charts/chart255.xml" ContentType="application/vnd.openxmlformats-officedocument.drawingml.chart+xml"/>
  <Override PartName="/ppt/charts/chart256.xml" ContentType="application/vnd.openxmlformats-officedocument.drawingml.chart+xml"/>
  <Override PartName="/ppt/charts/chart257.xml" ContentType="application/vnd.openxmlformats-officedocument.drawingml.chart+xml"/>
  <Override PartName="/ppt/charts/chart258.xml" ContentType="application/vnd.openxmlformats-officedocument.drawingml.chart+xml"/>
  <Override PartName="/ppt/charts/chart259.xml" ContentType="application/vnd.openxmlformats-officedocument.drawingml.chart+xml"/>
  <Override PartName="/ppt/charts/chart26.xml" ContentType="application/vnd.openxmlformats-officedocument.drawingml.chart+xml"/>
  <Override PartName="/ppt/charts/chart260.xml" ContentType="application/vnd.openxmlformats-officedocument.drawingml.chart+xml"/>
  <Override PartName="/ppt/charts/chart261.xml" ContentType="application/vnd.openxmlformats-officedocument.drawingml.chart+xml"/>
  <Override PartName="/ppt/charts/chart262.xml" ContentType="application/vnd.openxmlformats-officedocument.drawingml.chart+xml"/>
  <Override PartName="/ppt/charts/chart263.xml" ContentType="application/vnd.openxmlformats-officedocument.drawingml.chart+xml"/>
  <Override PartName="/ppt/charts/chart264.xml" ContentType="application/vnd.openxmlformats-officedocument.drawingml.chart+xml"/>
  <Override PartName="/ppt/charts/chart265.xml" ContentType="application/vnd.openxmlformats-officedocument.drawingml.chart+xml"/>
  <Override PartName="/ppt/charts/chart266.xml" ContentType="application/vnd.openxmlformats-officedocument.drawingml.chart+xml"/>
  <Override PartName="/ppt/charts/chart267.xml" ContentType="application/vnd.openxmlformats-officedocument.drawingml.chart+xml"/>
  <Override PartName="/ppt/charts/chart268.xml" ContentType="application/vnd.openxmlformats-officedocument.drawingml.chart+xml"/>
  <Override PartName="/ppt/charts/chart269.xml" ContentType="application/vnd.openxmlformats-officedocument.drawingml.chart+xml"/>
  <Override PartName="/ppt/charts/chart27.xml" ContentType="application/vnd.openxmlformats-officedocument.drawingml.chart+xml"/>
  <Override PartName="/ppt/charts/chart270.xml" ContentType="application/vnd.openxmlformats-officedocument.drawingml.chart+xml"/>
  <Override PartName="/ppt/charts/chart271.xml" ContentType="application/vnd.openxmlformats-officedocument.drawingml.chart+xml"/>
  <Override PartName="/ppt/charts/chart272.xml" ContentType="application/vnd.openxmlformats-officedocument.drawingml.chart+xml"/>
  <Override PartName="/ppt/charts/chart273.xml" ContentType="application/vnd.openxmlformats-officedocument.drawingml.chart+xml"/>
  <Override PartName="/ppt/charts/chart274.xml" ContentType="application/vnd.openxmlformats-officedocument.drawingml.chart+xml"/>
  <Override PartName="/ppt/charts/chart275.xml" ContentType="application/vnd.openxmlformats-officedocument.drawingml.chart+xml"/>
  <Override PartName="/ppt/charts/chart276.xml" ContentType="application/vnd.openxmlformats-officedocument.drawingml.chart+xml"/>
  <Override PartName="/ppt/charts/chart277.xml" ContentType="application/vnd.openxmlformats-officedocument.drawingml.chart+xml"/>
  <Override PartName="/ppt/charts/chart278.xml" ContentType="application/vnd.openxmlformats-officedocument.drawingml.chart+xml"/>
  <Override PartName="/ppt/charts/chart279.xml" ContentType="application/vnd.openxmlformats-officedocument.drawingml.chart+xml"/>
  <Override PartName="/ppt/charts/chart28.xml" ContentType="application/vnd.openxmlformats-officedocument.drawingml.chart+xml"/>
  <Override PartName="/ppt/charts/chart280.xml" ContentType="application/vnd.openxmlformats-officedocument.drawingml.chart+xml"/>
  <Override PartName="/ppt/charts/chart281.xml" ContentType="application/vnd.openxmlformats-officedocument.drawingml.chart+xml"/>
  <Override PartName="/ppt/charts/chart282.xml" ContentType="application/vnd.openxmlformats-officedocument.drawingml.chart+xml"/>
  <Override PartName="/ppt/charts/chart283.xml" ContentType="application/vnd.openxmlformats-officedocument.drawingml.chart+xml"/>
  <Override PartName="/ppt/charts/chart284.xml" ContentType="application/vnd.openxmlformats-officedocument.drawingml.chart+xml"/>
  <Override PartName="/ppt/charts/chart285.xml" ContentType="application/vnd.openxmlformats-officedocument.drawingml.chart+xml"/>
  <Override PartName="/ppt/charts/chart286.xml" ContentType="application/vnd.openxmlformats-officedocument.drawingml.chart+xml"/>
  <Override PartName="/ppt/charts/chart287.xml" ContentType="application/vnd.openxmlformats-officedocument.drawingml.chart+xml"/>
  <Override PartName="/ppt/charts/chart288.xml" ContentType="application/vnd.openxmlformats-officedocument.drawingml.chart+xml"/>
  <Override PartName="/ppt/charts/chart289.xml" ContentType="application/vnd.openxmlformats-officedocument.drawingml.chart+xml"/>
  <Override PartName="/ppt/charts/chart29.xml" ContentType="application/vnd.openxmlformats-officedocument.drawingml.chart+xml"/>
  <Override PartName="/ppt/charts/chart290.xml" ContentType="application/vnd.openxmlformats-officedocument.drawingml.chart+xml"/>
  <Override PartName="/ppt/charts/chart291.xml" ContentType="application/vnd.openxmlformats-officedocument.drawingml.chart+xml"/>
  <Override PartName="/ppt/charts/chart292.xml" ContentType="application/vnd.openxmlformats-officedocument.drawingml.chart+xml"/>
  <Override PartName="/ppt/charts/chart293.xml" ContentType="application/vnd.openxmlformats-officedocument.drawingml.chart+xml"/>
  <Override PartName="/ppt/charts/chart294.xml" ContentType="application/vnd.openxmlformats-officedocument.drawingml.chart+xml"/>
  <Override PartName="/ppt/charts/chart295.xml" ContentType="application/vnd.openxmlformats-officedocument.drawingml.chart+xml"/>
  <Override PartName="/ppt/charts/chart296.xml" ContentType="application/vnd.openxmlformats-officedocument.drawingml.chart+xml"/>
  <Override PartName="/ppt/charts/chart297.xml" ContentType="application/vnd.openxmlformats-officedocument.drawingml.chart+xml"/>
  <Override PartName="/ppt/charts/chart3.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revisionInfo.xml" ContentType="application/vnd.ms-powerpoint.revisioninfo+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4"/>
  </p:sldMasterIdLst>
  <p:notesMasterIdLst>
    <p:notesMasterId r:id="rId32"/>
  </p:notesMasterIdLst>
  <p:sldIdLst>
    <p:sldId id="2147475173" r:id="rId5"/>
    <p:sldId id="2147475174" r:id="rId6"/>
    <p:sldId id="2147475175" r:id="rId7"/>
    <p:sldId id="2147475176" r:id="rId8"/>
    <p:sldId id="2147475177" r:id="rId9"/>
    <p:sldId id="2147475178" r:id="rId10"/>
    <p:sldId id="2147475179" r:id="rId11"/>
    <p:sldId id="2147475180" r:id="rId12"/>
    <p:sldId id="2147475181" r:id="rId13"/>
    <p:sldId id="2147475182" r:id="rId14"/>
    <p:sldId id="2147475183" r:id="rId15"/>
    <p:sldId id="2147475184" r:id="rId16"/>
    <p:sldId id="2147475185" r:id="rId17"/>
    <p:sldId id="2147475186" r:id="rId18"/>
    <p:sldId id="2147475187" r:id="rId19"/>
    <p:sldId id="2147475188" r:id="rId20"/>
    <p:sldId id="2147475189" r:id="rId21"/>
    <p:sldId id="2147475190" r:id="rId22"/>
    <p:sldId id="2147475191" r:id="rId23"/>
    <p:sldId id="2147475192" r:id="rId24"/>
    <p:sldId id="2147475193" r:id="rId25"/>
    <p:sldId id="2147475194" r:id="rId26"/>
    <p:sldId id="2147475195" r:id="rId27"/>
    <p:sldId id="2147475196" r:id="rId28"/>
    <p:sldId id="2147475197" r:id="rId29"/>
    <p:sldId id="2147475198" r:id="rId30"/>
    <p:sldId id="2147475199" r:id="rId31"/>
  </p:sldIdLst>
  <p:sldSz cx="9144000" cy="5143500" type="screen16x9"/>
  <p:notesSz cx="6858000" cy="9144000"/>
  <p:defaultTex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defaultTextStyle>
  <p:extLst>
    <p:ext uri="{521415D9-36F7-43E2-AB2F-B90AF26B5E84}">
      <p14:sectionLst xmlns:p14="http://schemas.microsoft.com/office/powerpoint/2010/main">
        <p14:section name="Brackets By Sector" id="{DD1634ED-7AF5-4AA7-BB4A-C6198E5D2709}">
          <p14:sldIdLst>
            <p14:sldId id="2147475173"/>
            <p14:sldId id="2147475174"/>
            <p14:sldId id="2147475175"/>
            <p14:sldId id="2147475176"/>
            <p14:sldId id="2147475177"/>
            <p14:sldId id="2147475178"/>
            <p14:sldId id="2147475179"/>
            <p14:sldId id="2147475180"/>
            <p14:sldId id="2147475181"/>
          </p14:sldIdLst>
        </p14:section>
        <p14:section name="Brackets By Segment" id="{BFFFDFD3-03BC-49E1-B331-4FAEAE6B005D}">
          <p14:sldIdLst>
            <p14:sldId id="2147475182"/>
            <p14:sldId id="2147475183"/>
            <p14:sldId id="2147475184"/>
            <p14:sldId id="2147475185"/>
            <p14:sldId id="2147475186"/>
            <p14:sldId id="2147475187"/>
            <p14:sldId id="2147475188"/>
            <p14:sldId id="2147475189"/>
            <p14:sldId id="2147475190"/>
            <p14:sldId id="2147475191"/>
            <p14:sldId id="2147475192"/>
            <p14:sldId id="2147475193"/>
            <p14:sldId id="2147475194"/>
            <p14:sldId id="2147475195"/>
            <p14:sldId id="2147475196"/>
            <p14:sldId id="2147475197"/>
            <p14:sldId id="2147475198"/>
            <p14:sldId id="2147475199"/>
          </p14:sldIdLst>
        </p14:section>
      </p14:sectionLst>
    </p:ext>
    <p:ext uri="{EFAFB233-063F-42B5-8137-9DF3F51BA10A}">
      <p15:sldGuideLst xmlns:p15="http://schemas.microsoft.com/office/powerpoint/2012/main">
        <p15:guide id="1" orient="horz" pos="940" userDrawn="1">
          <p15:clr>
            <a:srgbClr val="5ACBF0"/>
          </p15:clr>
        </p15:guide>
        <p15:guide id="2" pos="2880">
          <p15:clr>
            <a:srgbClr val="A4A3A4"/>
          </p15:clr>
        </p15:guide>
        <p15:guide id="3" orient="horz" pos="171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281CB9-1EF1-2139-7E02-540278F999E7}" name="Bhagya RANASINGHE" initials="BR" userId="S::ranasinghe.b@pricing.one::f8b284ac-7432-45dc-b476-166fd6d429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EBB4AF-F304-4198-84BF-4A14E134E663}" v="2" dt="2024-10-31T11:06:18.049"/>
    <p1510:client id="{AD118CAC-8D7A-436B-8EC0-E885B730C9B7}" v="6" dt="2024-11-01T10:24:32.959"/>
    <p1510:client id="{FF2E4B7C-C723-43AE-8D55-231AF564B7DE}" v="3" dt="2024-11-01T07:31:13.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273" autoAdjust="0"/>
    <p:restoredTop sz="94660"/>
  </p:normalViewPr>
  <p:slideViewPr>
    <p:cSldViewPr snapToGrid="0">
      <p:cViewPr varScale="1">
        <p:scale>
          <a:sx n="51" d="100"/>
          <a:sy n="51" d="100"/>
        </p:scale>
        <p:origin x="66" y="420"/>
      </p:cViewPr>
      <p:guideLst>
        <p:guide orient="horz" pos="940"/>
        <p:guide pos="2880"/>
        <p:guide orient="horz" pos="171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notesMaster" Target="notesMasters/notesMaster1.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37" Type="http://schemas.microsoft.com/office/2015/10/relationships/revisionInfo" Target="revisionInfo.xml"/><Relationship Id="rId38"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Worksheet100.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Worksheet101.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Worksheet106.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Worksheet107.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Worksheet10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Worksheet109.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Microsoft_Excel_Worksheet110.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Microsoft_Excel_Worksheet111.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Microsoft_Excel_Worksheet112.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Microsoft_Excel_Worksheet113.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Microsoft_Excel_Worksheet114.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Microsoft_Excel_Worksheet115.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Microsoft_Excel_Worksheet116.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Microsoft_Excel_Worksheet117.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Microsoft_Excel_Worksheet11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Microsoft_Excel_Worksheet119.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Microsoft_Excel_Worksheet130.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Microsoft_Excel_Worksheet131.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Microsoft_Excel_Worksheet132.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Microsoft_Excel_Worksheet133.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Microsoft_Excel_Worksheet134.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Microsoft_Excel_Worksheet135.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Microsoft_Excel_Worksheet136.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Microsoft_Excel_Worksheet137.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Microsoft_Excel_Worksheet13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Microsoft_Excel_Worksheet139.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Microsoft_Excel_Worksheet140.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Microsoft_Excel_Worksheet141.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Microsoft_Excel_Worksheet142.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Microsoft_Excel_Worksheet143.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Microsoft_Excel_Worksheet144.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Microsoft_Excel_Worksheet145.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Microsoft_Excel_Worksheet146.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Microsoft_Excel_Worksheet147.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Microsoft_Excel_Worksheet14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Microsoft_Excel_Worksheet149.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Microsoft_Excel_Worksheet150.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Microsoft_Excel_Worksheet151.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Microsoft_Excel_Worksheet152.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Microsoft_Excel_Worksheet153.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Microsoft_Excel_Worksheet154.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Microsoft_Excel_Worksheet155.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Microsoft_Excel_Worksheet156.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Microsoft_Excel_Worksheet157.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Microsoft_Excel_Worksheet158.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Microsoft_Excel_Worksheet159.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Microsoft_Excel_Worksheet160.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Microsoft_Excel_Worksheet161.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Microsoft_Excel_Worksheet162.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Microsoft_Excel_Worksheet163.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Microsoft_Excel_Worksheet164.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Microsoft_Excel_Worksheet165.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Microsoft_Excel_Worksheet166.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Microsoft_Excel_Worksheet167.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Microsoft_Excel_Worksheet168.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Microsoft_Excel_Worksheet169.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Microsoft_Excel_Worksheet170.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Microsoft_Excel_Worksheet171.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Microsoft_Excel_Worksheet172.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Microsoft_Excel_Worksheet173.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Microsoft_Excel_Worksheet174.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Microsoft_Excel_Worksheet175.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Microsoft_Excel_Worksheet176.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Microsoft_Excel_Worksheet177.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Microsoft_Excel_Worksheet17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Microsoft_Excel_Worksheet179.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Microsoft_Excel_Worksheet180.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Microsoft_Excel_Worksheet181.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Microsoft_Excel_Worksheet182.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Microsoft_Excel_Worksheet183.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Microsoft_Excel_Worksheet184.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Microsoft_Excel_Worksheet185.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Microsoft_Excel_Worksheet186.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Microsoft_Excel_Worksheet187.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Microsoft_Excel_Worksheet18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Microsoft_Excel_Worksheet189.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Microsoft_Excel_Worksheet190.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Microsoft_Excel_Worksheet191.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Microsoft_Excel_Worksheet192.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Microsoft_Excel_Worksheet193.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Microsoft_Excel_Worksheet194.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Microsoft_Excel_Worksheet195.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Microsoft_Excel_Worksheet196.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Microsoft_Excel_Worksheet197.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Microsoft_Excel_Worksheet19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Microsoft_Excel_Worksheet199.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Microsoft_Excel_Worksheet200.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Microsoft_Excel_Worksheet201.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Microsoft_Excel_Worksheet202.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Microsoft_Excel_Worksheet203.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Microsoft_Excel_Worksheet204.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Microsoft_Excel_Worksheet205.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Microsoft_Excel_Worksheet206.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Microsoft_Excel_Worksheet207.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Microsoft_Excel_Worksheet20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Microsoft_Excel_Worksheet209.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Microsoft_Excel_Worksheet210.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Microsoft_Excel_Worksheet211.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Microsoft_Excel_Worksheet212.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Microsoft_Excel_Worksheet213.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Microsoft_Excel_Worksheet214.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Microsoft_Excel_Worksheet215.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Microsoft_Excel_Worksheet216.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Microsoft_Excel_Worksheet217.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Microsoft_Excel_Worksheet2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Microsoft_Excel_Worksheet219.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Microsoft_Excel_Worksheet220.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Microsoft_Excel_Worksheet221.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Microsoft_Excel_Worksheet222.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Microsoft_Excel_Worksheet223.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Microsoft_Excel_Worksheet224.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Microsoft_Excel_Worksheet225.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Microsoft_Excel_Worksheet226.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Microsoft_Excel_Worksheet227.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Microsoft_Excel_Worksheet228.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Microsoft_Excel_Worksheet229.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Microsoft_Excel_Worksheet230.xlsx"/></Relationships>
</file>

<file path=ppt/charts/_rels/chart232.xml.rels><?xml version='1.0' encoding='UTF-8' standalone='yes'?>
<Relationships xmlns="http://schemas.openxmlformats.org/package/2006/relationships"><Relationship Id="rId1" Type="http://schemas.openxmlformats.org/officeDocument/2006/relationships/package" Target="../embeddings/Microsoft_Excel_Worksheet231.xlsx"/></Relationships>
</file>

<file path=ppt/charts/_rels/chart233.xml.rels><?xml version='1.0' encoding='UTF-8' standalone='yes'?>
<Relationships xmlns="http://schemas.openxmlformats.org/package/2006/relationships"><Relationship Id="rId1" Type="http://schemas.openxmlformats.org/officeDocument/2006/relationships/package" Target="../embeddings/Microsoft_Excel_Worksheet232.xlsx"/></Relationships>
</file>

<file path=ppt/charts/_rels/chart234.xml.rels><?xml version='1.0' encoding='UTF-8' standalone='yes'?>
<Relationships xmlns="http://schemas.openxmlformats.org/package/2006/relationships"><Relationship Id="rId1" Type="http://schemas.openxmlformats.org/officeDocument/2006/relationships/package" Target="../embeddings/Microsoft_Excel_Worksheet233.xlsx"/></Relationships>
</file>

<file path=ppt/charts/_rels/chart235.xml.rels><?xml version='1.0' encoding='UTF-8' standalone='yes'?>
<Relationships xmlns="http://schemas.openxmlformats.org/package/2006/relationships"><Relationship Id="rId1" Type="http://schemas.openxmlformats.org/officeDocument/2006/relationships/package" Target="../embeddings/Microsoft_Excel_Worksheet234.xlsx"/></Relationships>
</file>

<file path=ppt/charts/_rels/chart236.xml.rels><?xml version='1.0' encoding='UTF-8' standalone='yes'?>
<Relationships xmlns="http://schemas.openxmlformats.org/package/2006/relationships"><Relationship Id="rId1" Type="http://schemas.openxmlformats.org/officeDocument/2006/relationships/package" Target="../embeddings/Microsoft_Excel_Worksheet235.xlsx"/></Relationships>
</file>

<file path=ppt/charts/_rels/chart237.xml.rels><?xml version='1.0' encoding='UTF-8' standalone='yes'?>
<Relationships xmlns="http://schemas.openxmlformats.org/package/2006/relationships"><Relationship Id="rId1" Type="http://schemas.openxmlformats.org/officeDocument/2006/relationships/package" Target="../embeddings/Microsoft_Excel_Worksheet236.xlsx"/></Relationships>
</file>

<file path=ppt/charts/_rels/chart238.xml.rels><?xml version='1.0' encoding='UTF-8' standalone='yes'?>
<Relationships xmlns="http://schemas.openxmlformats.org/package/2006/relationships"><Relationship Id="rId1" Type="http://schemas.openxmlformats.org/officeDocument/2006/relationships/package" Target="../embeddings/Microsoft_Excel_Worksheet237.xlsx"/></Relationships>
</file>

<file path=ppt/charts/_rels/chart239.xml.rels><?xml version='1.0' encoding='UTF-8' standalone='yes'?>
<Relationships xmlns="http://schemas.openxmlformats.org/package/2006/relationships"><Relationship Id="rId1" Type="http://schemas.openxmlformats.org/officeDocument/2006/relationships/package" Target="../embeddings/Microsoft_Excel_Worksheet23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0.xml.rels><?xml version='1.0' encoding='UTF-8' standalone='yes'?>
<Relationships xmlns="http://schemas.openxmlformats.org/package/2006/relationships"><Relationship Id="rId1" Type="http://schemas.openxmlformats.org/officeDocument/2006/relationships/package" Target="../embeddings/Microsoft_Excel_Worksheet239.xlsx"/></Relationships>
</file>

<file path=ppt/charts/_rels/chart241.xml.rels><?xml version='1.0' encoding='UTF-8' standalone='yes'?>
<Relationships xmlns="http://schemas.openxmlformats.org/package/2006/relationships"><Relationship Id="rId1" Type="http://schemas.openxmlformats.org/officeDocument/2006/relationships/package" Target="../embeddings/Microsoft_Excel_Worksheet240.xlsx"/></Relationships>
</file>

<file path=ppt/charts/_rels/chart242.xml.rels><?xml version='1.0' encoding='UTF-8' standalone='yes'?>
<Relationships xmlns="http://schemas.openxmlformats.org/package/2006/relationships"><Relationship Id="rId1" Type="http://schemas.openxmlformats.org/officeDocument/2006/relationships/package" Target="../embeddings/Microsoft_Excel_Worksheet241.xlsx"/></Relationships>
</file>

<file path=ppt/charts/_rels/chart243.xml.rels><?xml version='1.0' encoding='UTF-8' standalone='yes'?>
<Relationships xmlns="http://schemas.openxmlformats.org/package/2006/relationships"><Relationship Id="rId1" Type="http://schemas.openxmlformats.org/officeDocument/2006/relationships/package" Target="../embeddings/Microsoft_Excel_Worksheet242.xlsx"/></Relationships>
</file>

<file path=ppt/charts/_rels/chart244.xml.rels><?xml version='1.0' encoding='UTF-8' standalone='yes'?>
<Relationships xmlns="http://schemas.openxmlformats.org/package/2006/relationships"><Relationship Id="rId1" Type="http://schemas.openxmlformats.org/officeDocument/2006/relationships/package" Target="../embeddings/Microsoft_Excel_Worksheet243.xlsx"/></Relationships>
</file>

<file path=ppt/charts/_rels/chart245.xml.rels><?xml version='1.0' encoding='UTF-8' standalone='yes'?>
<Relationships xmlns="http://schemas.openxmlformats.org/package/2006/relationships"><Relationship Id="rId1" Type="http://schemas.openxmlformats.org/officeDocument/2006/relationships/package" Target="../embeddings/Microsoft_Excel_Worksheet244.xlsx"/></Relationships>
</file>

<file path=ppt/charts/_rels/chart246.xml.rels><?xml version='1.0' encoding='UTF-8' standalone='yes'?>
<Relationships xmlns="http://schemas.openxmlformats.org/package/2006/relationships"><Relationship Id="rId1" Type="http://schemas.openxmlformats.org/officeDocument/2006/relationships/package" Target="../embeddings/Microsoft_Excel_Worksheet245.xlsx"/></Relationships>
</file>

<file path=ppt/charts/_rels/chart247.xml.rels><?xml version='1.0' encoding='UTF-8' standalone='yes'?>
<Relationships xmlns="http://schemas.openxmlformats.org/package/2006/relationships"><Relationship Id="rId1" Type="http://schemas.openxmlformats.org/officeDocument/2006/relationships/package" Target="../embeddings/Microsoft_Excel_Worksheet246.xlsx"/></Relationships>
</file>

<file path=ppt/charts/_rels/chart248.xml.rels><?xml version='1.0' encoding='UTF-8' standalone='yes'?>
<Relationships xmlns="http://schemas.openxmlformats.org/package/2006/relationships"><Relationship Id="rId1" Type="http://schemas.openxmlformats.org/officeDocument/2006/relationships/package" Target="../embeddings/Microsoft_Excel_Worksheet247.xlsx"/></Relationships>
</file>

<file path=ppt/charts/_rels/chart249.xml.rels><?xml version='1.0' encoding='UTF-8' standalone='yes'?>
<Relationships xmlns="http://schemas.openxmlformats.org/package/2006/relationships"><Relationship Id="rId1" Type="http://schemas.openxmlformats.org/officeDocument/2006/relationships/package" Target="../embeddings/Microsoft_Excel_Worksheet248.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0.xml.rels><?xml version='1.0' encoding='UTF-8' standalone='yes'?>
<Relationships xmlns="http://schemas.openxmlformats.org/package/2006/relationships"><Relationship Id="rId1" Type="http://schemas.openxmlformats.org/officeDocument/2006/relationships/package" Target="../embeddings/Microsoft_Excel_Worksheet249.xlsx"/></Relationships>
</file>

<file path=ppt/charts/_rels/chart251.xml.rels><?xml version='1.0' encoding='UTF-8' standalone='yes'?>
<Relationships xmlns="http://schemas.openxmlformats.org/package/2006/relationships"><Relationship Id="rId1" Type="http://schemas.openxmlformats.org/officeDocument/2006/relationships/package" Target="../embeddings/Microsoft_Excel_Worksheet250.xlsx"/></Relationships>
</file>

<file path=ppt/charts/_rels/chart252.xml.rels><?xml version='1.0' encoding='UTF-8' standalone='yes'?>
<Relationships xmlns="http://schemas.openxmlformats.org/package/2006/relationships"><Relationship Id="rId1" Type="http://schemas.openxmlformats.org/officeDocument/2006/relationships/package" Target="../embeddings/Microsoft_Excel_Worksheet251.xlsx"/></Relationships>
</file>

<file path=ppt/charts/_rels/chart253.xml.rels><?xml version='1.0' encoding='UTF-8' standalone='yes'?>
<Relationships xmlns="http://schemas.openxmlformats.org/package/2006/relationships"><Relationship Id="rId1" Type="http://schemas.openxmlformats.org/officeDocument/2006/relationships/package" Target="../embeddings/Microsoft_Excel_Worksheet252.xlsx"/></Relationships>
</file>

<file path=ppt/charts/_rels/chart254.xml.rels><?xml version='1.0' encoding='UTF-8' standalone='yes'?>
<Relationships xmlns="http://schemas.openxmlformats.org/package/2006/relationships"><Relationship Id="rId1" Type="http://schemas.openxmlformats.org/officeDocument/2006/relationships/package" Target="../embeddings/Microsoft_Excel_Worksheet253.xlsx"/></Relationships>
</file>

<file path=ppt/charts/_rels/chart255.xml.rels><?xml version='1.0' encoding='UTF-8' standalone='yes'?>
<Relationships xmlns="http://schemas.openxmlformats.org/package/2006/relationships"><Relationship Id="rId1" Type="http://schemas.openxmlformats.org/officeDocument/2006/relationships/package" Target="../embeddings/Microsoft_Excel_Worksheet254.xlsx"/></Relationships>
</file>

<file path=ppt/charts/_rels/chart256.xml.rels><?xml version='1.0' encoding='UTF-8' standalone='yes'?>
<Relationships xmlns="http://schemas.openxmlformats.org/package/2006/relationships"><Relationship Id="rId1" Type="http://schemas.openxmlformats.org/officeDocument/2006/relationships/package" Target="../embeddings/Microsoft_Excel_Worksheet255.xlsx"/></Relationships>
</file>

<file path=ppt/charts/_rels/chart257.xml.rels><?xml version='1.0' encoding='UTF-8' standalone='yes'?>
<Relationships xmlns="http://schemas.openxmlformats.org/package/2006/relationships"><Relationship Id="rId1" Type="http://schemas.openxmlformats.org/officeDocument/2006/relationships/package" Target="../embeddings/Microsoft_Excel_Worksheet256.xlsx"/></Relationships>
</file>

<file path=ppt/charts/_rels/chart258.xml.rels><?xml version='1.0' encoding='UTF-8' standalone='yes'?>
<Relationships xmlns="http://schemas.openxmlformats.org/package/2006/relationships"><Relationship Id="rId1" Type="http://schemas.openxmlformats.org/officeDocument/2006/relationships/package" Target="../embeddings/Microsoft_Excel_Worksheet257.xlsx"/></Relationships>
</file>

<file path=ppt/charts/_rels/chart259.xml.rels><?xml version='1.0' encoding='UTF-8' standalone='yes'?>
<Relationships xmlns="http://schemas.openxmlformats.org/package/2006/relationships"><Relationship Id="rId1" Type="http://schemas.openxmlformats.org/officeDocument/2006/relationships/package" Target="../embeddings/Microsoft_Excel_Worksheet258.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0.xml.rels><?xml version='1.0' encoding='UTF-8' standalone='yes'?>
<Relationships xmlns="http://schemas.openxmlformats.org/package/2006/relationships"><Relationship Id="rId1" Type="http://schemas.openxmlformats.org/officeDocument/2006/relationships/package" Target="../embeddings/Microsoft_Excel_Worksheet259.xlsx"/></Relationships>
</file>

<file path=ppt/charts/_rels/chart261.xml.rels><?xml version='1.0' encoding='UTF-8' standalone='yes'?>
<Relationships xmlns="http://schemas.openxmlformats.org/package/2006/relationships"><Relationship Id="rId1" Type="http://schemas.openxmlformats.org/officeDocument/2006/relationships/package" Target="../embeddings/Microsoft_Excel_Worksheet260.xlsx"/></Relationships>
</file>

<file path=ppt/charts/_rels/chart262.xml.rels><?xml version='1.0' encoding='UTF-8' standalone='yes'?>
<Relationships xmlns="http://schemas.openxmlformats.org/package/2006/relationships"><Relationship Id="rId1" Type="http://schemas.openxmlformats.org/officeDocument/2006/relationships/package" Target="../embeddings/Microsoft_Excel_Worksheet261.xlsx"/></Relationships>
</file>

<file path=ppt/charts/_rels/chart263.xml.rels><?xml version='1.0' encoding='UTF-8' standalone='yes'?>
<Relationships xmlns="http://schemas.openxmlformats.org/package/2006/relationships"><Relationship Id="rId1" Type="http://schemas.openxmlformats.org/officeDocument/2006/relationships/package" Target="../embeddings/Microsoft_Excel_Worksheet262.xlsx"/></Relationships>
</file>

<file path=ppt/charts/_rels/chart264.xml.rels><?xml version='1.0' encoding='UTF-8' standalone='yes'?>
<Relationships xmlns="http://schemas.openxmlformats.org/package/2006/relationships"><Relationship Id="rId1" Type="http://schemas.openxmlformats.org/officeDocument/2006/relationships/package" Target="../embeddings/Microsoft_Excel_Worksheet263.xlsx"/></Relationships>
</file>

<file path=ppt/charts/_rels/chart265.xml.rels><?xml version='1.0' encoding='UTF-8' standalone='yes'?>
<Relationships xmlns="http://schemas.openxmlformats.org/package/2006/relationships"><Relationship Id="rId1" Type="http://schemas.openxmlformats.org/officeDocument/2006/relationships/package" Target="../embeddings/Microsoft_Excel_Worksheet264.xlsx"/></Relationships>
</file>

<file path=ppt/charts/_rels/chart266.xml.rels><?xml version='1.0' encoding='UTF-8' standalone='yes'?>
<Relationships xmlns="http://schemas.openxmlformats.org/package/2006/relationships"><Relationship Id="rId1" Type="http://schemas.openxmlformats.org/officeDocument/2006/relationships/package" Target="../embeddings/Microsoft_Excel_Worksheet265.xlsx"/></Relationships>
</file>

<file path=ppt/charts/_rels/chart267.xml.rels><?xml version='1.0' encoding='UTF-8' standalone='yes'?>
<Relationships xmlns="http://schemas.openxmlformats.org/package/2006/relationships"><Relationship Id="rId1" Type="http://schemas.openxmlformats.org/officeDocument/2006/relationships/package" Target="../embeddings/Microsoft_Excel_Worksheet266.xlsx"/></Relationships>
</file>

<file path=ppt/charts/_rels/chart268.xml.rels><?xml version='1.0' encoding='UTF-8' standalone='yes'?>
<Relationships xmlns="http://schemas.openxmlformats.org/package/2006/relationships"><Relationship Id="rId1" Type="http://schemas.openxmlformats.org/officeDocument/2006/relationships/package" Target="../embeddings/Microsoft_Excel_Worksheet267.xlsx"/></Relationships>
</file>

<file path=ppt/charts/_rels/chart269.xml.rels><?xml version='1.0' encoding='UTF-8' standalone='yes'?>
<Relationships xmlns="http://schemas.openxmlformats.org/package/2006/relationships"><Relationship Id="rId1" Type="http://schemas.openxmlformats.org/officeDocument/2006/relationships/package" Target="../embeddings/Microsoft_Excel_Worksheet268.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0.xml.rels><?xml version='1.0' encoding='UTF-8' standalone='yes'?>
<Relationships xmlns="http://schemas.openxmlformats.org/package/2006/relationships"><Relationship Id="rId1" Type="http://schemas.openxmlformats.org/officeDocument/2006/relationships/package" Target="../embeddings/Microsoft_Excel_Worksheet269.xlsx"/></Relationships>
</file>

<file path=ppt/charts/_rels/chart271.xml.rels><?xml version='1.0' encoding='UTF-8' standalone='yes'?>
<Relationships xmlns="http://schemas.openxmlformats.org/package/2006/relationships"><Relationship Id="rId1" Type="http://schemas.openxmlformats.org/officeDocument/2006/relationships/package" Target="../embeddings/Microsoft_Excel_Worksheet270.xlsx"/></Relationships>
</file>

<file path=ppt/charts/_rels/chart272.xml.rels><?xml version='1.0' encoding='UTF-8' standalone='yes'?>
<Relationships xmlns="http://schemas.openxmlformats.org/package/2006/relationships"><Relationship Id="rId1" Type="http://schemas.openxmlformats.org/officeDocument/2006/relationships/package" Target="../embeddings/Microsoft_Excel_Worksheet271.xlsx"/></Relationships>
</file>

<file path=ppt/charts/_rels/chart273.xml.rels><?xml version='1.0' encoding='UTF-8' standalone='yes'?>
<Relationships xmlns="http://schemas.openxmlformats.org/package/2006/relationships"><Relationship Id="rId1" Type="http://schemas.openxmlformats.org/officeDocument/2006/relationships/package" Target="../embeddings/Microsoft_Excel_Worksheet272.xlsx"/></Relationships>
</file>

<file path=ppt/charts/_rels/chart274.xml.rels><?xml version='1.0' encoding='UTF-8' standalone='yes'?>
<Relationships xmlns="http://schemas.openxmlformats.org/package/2006/relationships"><Relationship Id="rId1" Type="http://schemas.openxmlformats.org/officeDocument/2006/relationships/package" Target="../embeddings/Microsoft_Excel_Worksheet273.xlsx"/></Relationships>
</file>

<file path=ppt/charts/_rels/chart275.xml.rels><?xml version='1.0' encoding='UTF-8' standalone='yes'?>
<Relationships xmlns="http://schemas.openxmlformats.org/package/2006/relationships"><Relationship Id="rId1" Type="http://schemas.openxmlformats.org/officeDocument/2006/relationships/package" Target="../embeddings/Microsoft_Excel_Worksheet274.xlsx"/></Relationships>
</file>

<file path=ppt/charts/_rels/chart276.xml.rels><?xml version='1.0' encoding='UTF-8' standalone='yes'?>
<Relationships xmlns="http://schemas.openxmlformats.org/package/2006/relationships"><Relationship Id="rId1" Type="http://schemas.openxmlformats.org/officeDocument/2006/relationships/package" Target="../embeddings/Microsoft_Excel_Worksheet275.xlsx"/></Relationships>
</file>

<file path=ppt/charts/_rels/chart277.xml.rels><?xml version='1.0' encoding='UTF-8' standalone='yes'?>
<Relationships xmlns="http://schemas.openxmlformats.org/package/2006/relationships"><Relationship Id="rId1" Type="http://schemas.openxmlformats.org/officeDocument/2006/relationships/package" Target="../embeddings/Microsoft_Excel_Worksheet276.xlsx"/></Relationships>
</file>

<file path=ppt/charts/_rels/chart278.xml.rels><?xml version='1.0' encoding='UTF-8' standalone='yes'?>
<Relationships xmlns="http://schemas.openxmlformats.org/package/2006/relationships"><Relationship Id="rId1" Type="http://schemas.openxmlformats.org/officeDocument/2006/relationships/package" Target="../embeddings/Microsoft_Excel_Worksheet277.xlsx"/></Relationships>
</file>

<file path=ppt/charts/_rels/chart279.xml.rels><?xml version='1.0' encoding='UTF-8' standalone='yes'?>
<Relationships xmlns="http://schemas.openxmlformats.org/package/2006/relationships"><Relationship Id="rId1" Type="http://schemas.openxmlformats.org/officeDocument/2006/relationships/package" Target="../embeddings/Microsoft_Excel_Worksheet278.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0.xml.rels><?xml version='1.0' encoding='UTF-8' standalone='yes'?>
<Relationships xmlns="http://schemas.openxmlformats.org/package/2006/relationships"><Relationship Id="rId1" Type="http://schemas.openxmlformats.org/officeDocument/2006/relationships/package" Target="../embeddings/Microsoft_Excel_Worksheet279.xlsx"/></Relationships>
</file>

<file path=ppt/charts/_rels/chart281.xml.rels><?xml version='1.0' encoding='UTF-8' standalone='yes'?>
<Relationships xmlns="http://schemas.openxmlformats.org/package/2006/relationships"><Relationship Id="rId1" Type="http://schemas.openxmlformats.org/officeDocument/2006/relationships/package" Target="../embeddings/Microsoft_Excel_Worksheet280.xlsx"/></Relationships>
</file>

<file path=ppt/charts/_rels/chart282.xml.rels><?xml version='1.0' encoding='UTF-8' standalone='yes'?>
<Relationships xmlns="http://schemas.openxmlformats.org/package/2006/relationships"><Relationship Id="rId1" Type="http://schemas.openxmlformats.org/officeDocument/2006/relationships/package" Target="../embeddings/Microsoft_Excel_Worksheet281.xlsx"/></Relationships>
</file>

<file path=ppt/charts/_rels/chart283.xml.rels><?xml version='1.0' encoding='UTF-8' standalone='yes'?>
<Relationships xmlns="http://schemas.openxmlformats.org/package/2006/relationships"><Relationship Id="rId1" Type="http://schemas.openxmlformats.org/officeDocument/2006/relationships/package" Target="../embeddings/Microsoft_Excel_Worksheet282.xlsx"/></Relationships>
</file>

<file path=ppt/charts/_rels/chart284.xml.rels><?xml version='1.0' encoding='UTF-8' standalone='yes'?>
<Relationships xmlns="http://schemas.openxmlformats.org/package/2006/relationships"><Relationship Id="rId1" Type="http://schemas.openxmlformats.org/officeDocument/2006/relationships/package" Target="../embeddings/Microsoft_Excel_Worksheet283.xlsx"/></Relationships>
</file>

<file path=ppt/charts/_rels/chart285.xml.rels><?xml version='1.0' encoding='UTF-8' standalone='yes'?>
<Relationships xmlns="http://schemas.openxmlformats.org/package/2006/relationships"><Relationship Id="rId1" Type="http://schemas.openxmlformats.org/officeDocument/2006/relationships/package" Target="../embeddings/Microsoft_Excel_Worksheet284.xlsx"/></Relationships>
</file>

<file path=ppt/charts/_rels/chart286.xml.rels><?xml version='1.0' encoding='UTF-8' standalone='yes'?>
<Relationships xmlns="http://schemas.openxmlformats.org/package/2006/relationships"><Relationship Id="rId1" Type="http://schemas.openxmlformats.org/officeDocument/2006/relationships/package" Target="../embeddings/Microsoft_Excel_Worksheet285.xlsx"/></Relationships>
</file>

<file path=ppt/charts/_rels/chart287.xml.rels><?xml version='1.0' encoding='UTF-8' standalone='yes'?>
<Relationships xmlns="http://schemas.openxmlformats.org/package/2006/relationships"><Relationship Id="rId1" Type="http://schemas.openxmlformats.org/officeDocument/2006/relationships/package" Target="../embeddings/Microsoft_Excel_Worksheet286.xlsx"/></Relationships>
</file>

<file path=ppt/charts/_rels/chart288.xml.rels><?xml version='1.0' encoding='UTF-8' standalone='yes'?>
<Relationships xmlns="http://schemas.openxmlformats.org/package/2006/relationships"><Relationship Id="rId1" Type="http://schemas.openxmlformats.org/officeDocument/2006/relationships/package" Target="../embeddings/Microsoft_Excel_Worksheet287.xlsx"/></Relationships>
</file>

<file path=ppt/charts/_rels/chart289.xml.rels><?xml version='1.0' encoding='UTF-8' standalone='yes'?>
<Relationships xmlns="http://schemas.openxmlformats.org/package/2006/relationships"><Relationship Id="rId1" Type="http://schemas.openxmlformats.org/officeDocument/2006/relationships/package" Target="../embeddings/Microsoft_Excel_Worksheet28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0.xml.rels><?xml version='1.0' encoding='UTF-8' standalone='yes'?>
<Relationships xmlns="http://schemas.openxmlformats.org/package/2006/relationships"><Relationship Id="rId1" Type="http://schemas.openxmlformats.org/officeDocument/2006/relationships/package" Target="../embeddings/Microsoft_Excel_Worksheet289.xlsx"/></Relationships>
</file>

<file path=ppt/charts/_rels/chart291.xml.rels><?xml version='1.0' encoding='UTF-8' standalone='yes'?>
<Relationships xmlns="http://schemas.openxmlformats.org/package/2006/relationships"><Relationship Id="rId1" Type="http://schemas.openxmlformats.org/officeDocument/2006/relationships/package" Target="../embeddings/Microsoft_Excel_Worksheet290.xlsx"/></Relationships>
</file>

<file path=ppt/charts/_rels/chart292.xml.rels><?xml version='1.0' encoding='UTF-8' standalone='yes'?>
<Relationships xmlns="http://schemas.openxmlformats.org/package/2006/relationships"><Relationship Id="rId1" Type="http://schemas.openxmlformats.org/officeDocument/2006/relationships/package" Target="../embeddings/Microsoft_Excel_Worksheet291.xlsx"/></Relationships>
</file>

<file path=ppt/charts/_rels/chart293.xml.rels><?xml version='1.0' encoding='UTF-8' standalone='yes'?>
<Relationships xmlns="http://schemas.openxmlformats.org/package/2006/relationships"><Relationship Id="rId1" Type="http://schemas.openxmlformats.org/officeDocument/2006/relationships/package" Target="../embeddings/Microsoft_Excel_Worksheet292.xlsx"/></Relationships>
</file>

<file path=ppt/charts/_rels/chart294.xml.rels><?xml version='1.0' encoding='UTF-8' standalone='yes'?>
<Relationships xmlns="http://schemas.openxmlformats.org/package/2006/relationships"><Relationship Id="rId1" Type="http://schemas.openxmlformats.org/officeDocument/2006/relationships/package" Target="../embeddings/Microsoft_Excel_Worksheet293.xlsx"/></Relationships>
</file>

<file path=ppt/charts/_rels/chart295.xml.rels><?xml version='1.0' encoding='UTF-8' standalone='yes'?>
<Relationships xmlns="http://schemas.openxmlformats.org/package/2006/relationships"><Relationship Id="rId1" Type="http://schemas.openxmlformats.org/officeDocument/2006/relationships/package" Target="../embeddings/Microsoft_Excel_Worksheet294.xlsx"/></Relationships>
</file>

<file path=ppt/charts/_rels/chart296.xml.rels><?xml version='1.0' encoding='UTF-8' standalone='yes'?>
<Relationships xmlns="http://schemas.openxmlformats.org/package/2006/relationships"><Relationship Id="rId1" Type="http://schemas.openxmlformats.org/officeDocument/2006/relationships/package" Target="../embeddings/Microsoft_Excel_Worksheet295.xlsx"/></Relationships>
</file>

<file path=ppt/charts/_rels/chart297.xml.rels><?xml version='1.0' encoding='UTF-8' standalone='yes'?>
<Relationships xmlns="http://schemas.openxmlformats.org/package/2006/relationships"><Relationship Id="rId1" Type="http://schemas.openxmlformats.org/officeDocument/2006/relationships/package" Target="../embeddings/Microsoft_Excel_Worksheet29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71.xlsx"/></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Worksheet72.xlsx"/></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73.xlsx"/></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Worksheet74.xlsx"/></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Worksheet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Worksheet7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Worksheet79.xlsx"/></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80.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Worksheet90.xlsx"/></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Worksheet94.xlsx"/></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4377507072772</c:v>
                </c:pt>
                <c:pt idx="1">
                  <c:v>0.019033626479877733</c:v>
                </c:pt>
                <c:pt idx="2">
                  <c:v>0.019827508280769842</c:v>
                </c:pt>
                <c:pt idx="3">
                  <c:v>0.046176309521501764</c:v>
                </c:pt>
                <c:pt idx="4">
                  <c:v>0.0691414471850965</c:v>
                </c:pt>
                <c:pt idx="5">
                  <c:v>0.0990885822044972</c:v>
                </c:pt>
                <c:pt idx="6">
                  <c:v>0.12890045057876498</c:v>
                </c:pt>
                <c:pt idx="7">
                  <c:v>0.17819960100478047</c:v>
                </c:pt>
                <c:pt idx="8">
                  <c:v>0.24263268612335281</c:v>
                </c:pt>
                <c:pt idx="9">
                  <c:v>0.09166950552699936</c:v>
                </c:pt>
                <c:pt idx="10">
                  <c:v>0.0886259055872865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4377507072772</c:v>
                </c:pt>
                <c:pt idx="1">
                  <c:v>0.019033626479877733</c:v>
                </c:pt>
                <c:pt idx="2">
                  <c:v>0.019827508280769842</c:v>
                </c:pt>
                <c:pt idx="3">
                  <c:v>0.046176309521501764</c:v>
                </c:pt>
                <c:pt idx="4">
                  <c:v>0.0691414471850965</c:v>
                </c:pt>
                <c:pt idx="5">
                  <c:v>0.0990885822044972</c:v>
                </c:pt>
                <c:pt idx="6">
                  <c:v>0.12890045057876498</c:v>
                </c:pt>
                <c:pt idx="7">
                  <c:v>0.17819960100478047</c:v>
                </c:pt>
                <c:pt idx="8">
                  <c:v>0.24263268612335281</c:v>
                </c:pt>
                <c:pt idx="9">
                  <c:v>0.09166950552699936</c:v>
                </c:pt>
                <c:pt idx="10">
                  <c:v>0.0886259055872865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94847687755715</c:v>
                </c:pt>
                <c:pt idx="1">
                  <c:v>0.002255028483403057</c:v>
                </c:pt>
                <c:pt idx="2">
                  <c:v>0.003460401661324455</c:v>
                </c:pt>
                <c:pt idx="3">
                  <c:v>0.008154745536428228</c:v>
                </c:pt>
                <c:pt idx="4">
                  <c:v>0.01660420269013184</c:v>
                </c:pt>
                <c:pt idx="5">
                  <c:v>0.012212953095945937</c:v>
                </c:pt>
                <c:pt idx="6">
                  <c:v>0.006900514686939858</c:v>
                </c:pt>
                <c:pt idx="7">
                  <c:v>0.027956871870939873</c:v>
                </c:pt>
                <c:pt idx="8">
                  <c:v>0.01668129465014956</c:v>
                </c:pt>
                <c:pt idx="9">
                  <c:v>0.00430848899950385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4580878578177295</c:v>
                </c:pt>
                <c:pt idx="3">
                  <c:v>0.0006889822634042167</c:v>
                </c:pt>
                <c:pt idx="4">
                  <c:v>0.0010002568881030992</c:v>
                </c:pt>
                <c:pt idx="5">
                  <c:v>0.0026683789960321833</c:v>
                </c:pt>
                <c:pt idx="7">
                  <c:v>0.00647591371859536</c:v>
                </c:pt>
                <c:pt idx="8">
                  <c:v>0.006333900625717872</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6168042268465347</c:v>
                </c:pt>
                <c:pt idx="2">
                  <c:v>0.0009857273792146031</c:v>
                </c:pt>
                <c:pt idx="3">
                  <c:v>0.007454826964875372</c:v>
                </c:pt>
                <c:pt idx="4">
                  <c:v>0.00308344150254371</c:v>
                </c:pt>
                <c:pt idx="5">
                  <c:v>0.002739684608011621</c:v>
                </c:pt>
                <c:pt idx="6">
                  <c:v>0.02322663571670125</c:v>
                </c:pt>
                <c:pt idx="7">
                  <c:v>0.018569634938066275</c:v>
                </c:pt>
                <c:pt idx="8">
                  <c:v>0.038998618831462294</c:v>
                </c:pt>
                <c:pt idx="9">
                  <c:v>0.018510736315701277</c:v>
                </c:pt>
                <c:pt idx="10">
                  <c:v>0.01337498568099573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06153709407125123</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35781438750521</c:v>
                </c:pt>
                <c:pt idx="1">
                  <c:v>0.005438681588317061</c:v>
                </c:pt>
                <c:pt idx="2">
                  <c:v>0.006017531219052671</c:v>
                </c:pt>
                <c:pt idx="3">
                  <c:v>0.013610411693189252</c:v>
                </c:pt>
                <c:pt idx="4">
                  <c:v>0.023837432757127176</c:v>
                </c:pt>
                <c:pt idx="5">
                  <c:v>0.030631764830803074</c:v>
                </c:pt>
                <c:pt idx="6">
                  <c:v>0.03589000800244209</c:v>
                </c:pt>
                <c:pt idx="7">
                  <c:v>0.06263168057157</c:v>
                </c:pt>
                <c:pt idx="8">
                  <c:v>0.06486657344665014</c:v>
                </c:pt>
                <c:pt idx="9">
                  <c:v>0.016416933954930282</c:v>
                </c:pt>
                <c:pt idx="10">
                  <c:v>0.0699660727764302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314502071593158</c:v>
                </c:pt>
                <c:pt idx="1">
                  <c:v>0.003921617374636428</c:v>
                </c:pt>
                <c:pt idx="2">
                  <c:v>0.0024180872561258187</c:v>
                </c:pt>
                <c:pt idx="3">
                  <c:v>0.003044906558163658</c:v>
                </c:pt>
                <c:pt idx="4">
                  <c:v>0.00593952992322118</c:v>
                </c:pt>
                <c:pt idx="5">
                  <c:v>0.03219895875619794</c:v>
                </c:pt>
                <c:pt idx="6">
                  <c:v>0.029373752439176528</c:v>
                </c:pt>
                <c:pt idx="7">
                  <c:v>0.03377198685068925</c:v>
                </c:pt>
                <c:pt idx="8">
                  <c:v>0.057069396262061395</c:v>
                </c:pt>
                <c:pt idx="9">
                  <c:v>0.04059972745130963</c:v>
                </c:pt>
                <c:pt idx="10">
                  <c:v>0.00445786285679621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355110242771923</c:v>
                </c:pt>
                <c:pt idx="1">
                  <c:v>0.003477573835458152</c:v>
                </c:pt>
                <c:pt idx="2">
                  <c:v>0.0062903260775155415</c:v>
                </c:pt>
                <c:pt idx="3">
                  <c:v>0.0030646537123525342</c:v>
                </c:pt>
                <c:pt idx="4">
                  <c:v>0.007447731791260472</c:v>
                </c:pt>
                <c:pt idx="5">
                  <c:v>0.010749193176533278</c:v>
                </c:pt>
                <c:pt idx="6">
                  <c:v>0.021474720079233695</c:v>
                </c:pt>
                <c:pt idx="7">
                  <c:v>0.024416423643911528</c:v>
                </c:pt>
                <c:pt idx="8">
                  <c:v>0.05498729019640961</c:v>
                </c:pt>
                <c:pt idx="9">
                  <c:v>0.0105944530608059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4377507072772</c:v>
                </c:pt>
                <c:pt idx="1">
                  <c:v>0.019033626479877733</c:v>
                </c:pt>
                <c:pt idx="2">
                  <c:v>0.019827508280769842</c:v>
                </c:pt>
                <c:pt idx="3">
                  <c:v>0.046176309521501764</c:v>
                </c:pt>
                <c:pt idx="4">
                  <c:v>0.0691414471850965</c:v>
                </c:pt>
                <c:pt idx="5">
                  <c:v>0.0990885822044972</c:v>
                </c:pt>
                <c:pt idx="6">
                  <c:v>0.12890045057876498</c:v>
                </c:pt>
                <c:pt idx="7">
                  <c:v>0.17819960100478047</c:v>
                </c:pt>
                <c:pt idx="8">
                  <c:v>0.24263268612335281</c:v>
                </c:pt>
                <c:pt idx="9">
                  <c:v>0.09166950552699936</c:v>
                </c:pt>
                <c:pt idx="10">
                  <c:v>0.0886259055872865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263676612039355</c:v>
                </c:pt>
                <c:pt idx="1">
                  <c:v>0.0022794996224303064</c:v>
                </c:pt>
                <c:pt idx="2">
                  <c:v>0.0005938330718224053</c:v>
                </c:pt>
                <c:pt idx="3">
                  <c:v>0.001158301071095546</c:v>
                </c:pt>
                <c:pt idx="4">
                  <c:v>0.002111782342933432</c:v>
                </c:pt>
                <c:pt idx="5">
                  <c:v>0.00646942697598207</c:v>
                </c:pt>
                <c:pt idx="6">
                  <c:v>0.010638859695420368</c:v>
                </c:pt>
                <c:pt idx="7">
                  <c:v>0.003567612059484726</c:v>
                </c:pt>
                <c:pt idx="8">
                  <c:v>0.0011790120035336466</c:v>
                </c:pt>
                <c:pt idx="9">
                  <c:v>0.000727167746205351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817840100762583</c:v>
                </c:pt>
                <c:pt idx="1">
                  <c:v>0.004710079937720061</c:v>
                </c:pt>
                <c:pt idx="2">
                  <c:v>0.0035365833603226166</c:v>
                </c:pt>
                <c:pt idx="3">
                  <c:v>0.011215191341785913</c:v>
                </c:pt>
                <c:pt idx="4">
                  <c:v>0.017157682031308918</c:v>
                </c:pt>
                <c:pt idx="5">
                  <c:v>0.010345007324616792</c:v>
                </c:pt>
                <c:pt idx="6">
                  <c:v>0.009931055360339294</c:v>
                </c:pt>
                <c:pt idx="7">
                  <c:v>0.020310265934079454</c:v>
                </c:pt>
                <c:pt idx="8">
                  <c:v>0.01935877735368818</c:v>
                </c:pt>
                <c:pt idx="9">
                  <c:v>0.002172927183804752</c:v>
                </c:pt>
                <c:pt idx="10">
                  <c:v>0.001174804828085007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28805964401529397</c:v>
                </c:pt>
                <c:pt idx="3">
                  <c:v>0.003305048724703075</c:v>
                </c:pt>
                <c:pt idx="4">
                  <c:v>0.0017550118633459153</c:v>
                </c:pt>
                <c:pt idx="5">
                  <c:v>0.0021578329734128375</c:v>
                </c:pt>
                <c:pt idx="6">
                  <c:v>0.0018049141207200374</c:v>
                </c:pt>
                <c:pt idx="7">
                  <c:v>0.0053919616428104505</c:v>
                </c:pt>
                <c:pt idx="8">
                  <c:v>0.0064020555646580254</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499321807132914</c:v>
                </c:pt>
                <c:pt idx="2">
                  <c:v>0.0005661808721516262</c:v>
                </c:pt>
                <c:pt idx="3">
                  <c:v>0.008233353455801668</c:v>
                </c:pt>
                <c:pt idx="4">
                  <c:v>0.003160767975924207</c:v>
                </c:pt>
                <c:pt idx="5">
                  <c:v>0.008278820528877627</c:v>
                </c:pt>
                <c:pt idx="6">
                  <c:v>0.015554706055243884</c:v>
                </c:pt>
                <c:pt idx="7">
                  <c:v>0.03108971543128354</c:v>
                </c:pt>
                <c:pt idx="8">
                  <c:v>0.031262224369488154</c:v>
                </c:pt>
                <c:pt idx="9">
                  <c:v>0.0201649042699784</c:v>
                </c:pt>
                <c:pt idx="10">
                  <c:v>0.00539903477521632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05794220848483699</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641326002405482</c:v>
                </c:pt>
                <c:pt idx="1">
                  <c:v>0.0061713187474905715</c:v>
                </c:pt>
                <c:pt idx="2">
                  <c:v>0.016758228058257527</c:v>
                </c:pt>
                <c:pt idx="3">
                  <c:v>0.013772482577596659</c:v>
                </c:pt>
                <c:pt idx="4">
                  <c:v>0.012019049193768852</c:v>
                </c:pt>
                <c:pt idx="5">
                  <c:v>0.04236039804895471</c:v>
                </c:pt>
                <c:pt idx="6">
                  <c:v>0.05128419903484042</c:v>
                </c:pt>
                <c:pt idx="7">
                  <c:v>0.056442138221051694</c:v>
                </c:pt>
                <c:pt idx="8">
                  <c:v>0.055836186527998155</c:v>
                </c:pt>
                <c:pt idx="9">
                  <c:v>0.06736591564984633</c:v>
                </c:pt>
                <c:pt idx="10">
                  <c:v>0.0159040947757535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895100899713595</c:v>
                </c:pt>
                <c:pt idx="1">
                  <c:v>0.004337846157663012</c:v>
                </c:pt>
                <c:pt idx="2">
                  <c:v>0.003410356471032117</c:v>
                </c:pt>
                <c:pt idx="3">
                  <c:v>0.0036764375034963534</c:v>
                </c:pt>
                <c:pt idx="4">
                  <c:v>0.012088339297398006</c:v>
                </c:pt>
                <c:pt idx="5">
                  <c:v>0.03054474966700302</c:v>
                </c:pt>
                <c:pt idx="6">
                  <c:v>0.02695129815056332</c:v>
                </c:pt>
                <c:pt idx="7">
                  <c:v>0.03765168212342693</c:v>
                </c:pt>
                <c:pt idx="8">
                  <c:v>0.05217987463835769</c:v>
                </c:pt>
                <c:pt idx="9">
                  <c:v>0.03258373342713391</c:v>
                </c:pt>
                <c:pt idx="10">
                  <c:v>0.001178236305298287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2915430566361968</c:v>
                </c:pt>
                <c:pt idx="1">
                  <c:v>0.025515726790348144</c:v>
                </c:pt>
                <c:pt idx="2">
                  <c:v>0.03199740978374033</c:v>
                </c:pt>
                <c:pt idx="3">
                  <c:v>0.0411103752403546</c:v>
                </c:pt>
                <c:pt idx="4">
                  <c:v>0.05793075164029115</c:v>
                </c:pt>
                <c:pt idx="5">
                  <c:v>0.11068370870934567</c:v>
                </c:pt>
                <c:pt idx="6">
                  <c:v>0.13434203264565014</c:v>
                </c:pt>
                <c:pt idx="7">
                  <c:v>0.17805870919511416</c:v>
                </c:pt>
                <c:pt idx="8">
                  <c:v>0.1872343763191081</c:v>
                </c:pt>
                <c:pt idx="9">
                  <c:v>0.136610462129647</c:v>
                </c:pt>
                <c:pt idx="10">
                  <c:v>0.02536890245908493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069135824413645</c:v>
                </c:pt>
                <c:pt idx="1">
                  <c:v>0.0062330638905970254</c:v>
                </c:pt>
                <c:pt idx="2">
                  <c:v>0.005536268127668419</c:v>
                </c:pt>
                <c:pt idx="3">
                  <c:v>0.003436886079237287</c:v>
                </c:pt>
                <c:pt idx="4">
                  <c:v>0.009653903524515712</c:v>
                </c:pt>
                <c:pt idx="5">
                  <c:v>0.01146692879949864</c:v>
                </c:pt>
                <c:pt idx="6">
                  <c:v>0.02459410064040544</c:v>
                </c:pt>
                <c:pt idx="7">
                  <c:v>0.030474623140803125</c:v>
                </c:pt>
                <c:pt idx="8">
                  <c:v>0.026328978311202435</c:v>
                </c:pt>
                <c:pt idx="9">
                  <c:v>0.013911774816376721</c:v>
                </c:pt>
                <c:pt idx="10">
                  <c:v>0.001712731774731790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28805964401529397</c:v>
                </c:pt>
                <c:pt idx="3">
                  <c:v>0.003305048724703075</c:v>
                </c:pt>
                <c:pt idx="4">
                  <c:v>0.0017550118633459153</c:v>
                </c:pt>
                <c:pt idx="5">
                  <c:v>0.0021578329734128375</c:v>
                </c:pt>
                <c:pt idx="6">
                  <c:v>0.0023843362055684073</c:v>
                </c:pt>
                <c:pt idx="7">
                  <c:v>0.0057335995141645935</c:v>
                </c:pt>
                <c:pt idx="8">
                  <c:v>0.00679725021661843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2066226389675</c:v>
                </c:pt>
                <c:pt idx="1">
                  <c:v>0.011322501101184693</c:v>
                </c:pt>
                <c:pt idx="2">
                  <c:v>0.013914552193722339</c:v>
                </c:pt>
                <c:pt idx="3">
                  <c:v>0.09004346085649977</c:v>
                </c:pt>
                <c:pt idx="4">
                  <c:v>0.057044640694140274</c:v>
                </c:pt>
                <c:pt idx="5">
                  <c:v>0.12465870549148711</c:v>
                </c:pt>
                <c:pt idx="6">
                  <c:v>0.11514928294657306</c:v>
                </c:pt>
                <c:pt idx="7">
                  <c:v>0.1871274516940177</c:v>
                </c:pt>
                <c:pt idx="8">
                  <c:v>0.21430449882698097</c:v>
                </c:pt>
                <c:pt idx="9">
                  <c:v>0.10899183968071159</c:v>
                </c:pt>
                <c:pt idx="10">
                  <c:v>0.0638224042507857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123346018853603</c:v>
                </c:pt>
                <c:pt idx="2">
                  <c:v>0.0018696415779544519</c:v>
                </c:pt>
                <c:pt idx="3">
                  <c:v>0.02382706023599706</c:v>
                </c:pt>
                <c:pt idx="4">
                  <c:v>0.011748914298341443</c:v>
                </c:pt>
                <c:pt idx="5">
                  <c:v>0.011638719825346158</c:v>
                </c:pt>
                <c:pt idx="6">
                  <c:v>0.001867470044345322</c:v>
                </c:pt>
                <c:pt idx="7">
                  <c:v>0.0243093904235889</c:v>
                </c:pt>
                <c:pt idx="8">
                  <c:v>0.017865196144641857</c:v>
                </c:pt>
                <c:pt idx="9">
                  <c:v>0.00870779548426980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123346018853603</c:v>
                </c:pt>
                <c:pt idx="2">
                  <c:v>0.0008484127522529444</c:v>
                </c:pt>
                <c:pt idx="5">
                  <c:v>0.0055378341523344725</c:v>
                </c:pt>
                <c:pt idx="6">
                  <c:v>0.0008110406588398226</c:v>
                </c:pt>
                <c:pt idx="7">
                  <c:v>0.006880954833751295</c:v>
                </c:pt>
                <c:pt idx="8">
                  <c:v>0.006542027296872357</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8304650269734875</c:v>
                </c:pt>
                <c:pt idx="2">
                  <c:v>0.0005941044512877672</c:v>
                </c:pt>
                <c:pt idx="3">
                  <c:v>0.011868609230876672</c:v>
                </c:pt>
                <c:pt idx="4">
                  <c:v>0.0038671376259804364</c:v>
                </c:pt>
                <c:pt idx="5">
                  <c:v>0.015305115455664623</c:v>
                </c:pt>
                <c:pt idx="6">
                  <c:v>0.017324136830591107</c:v>
                </c:pt>
                <c:pt idx="7">
                  <c:v>0.016915019898631072</c:v>
                </c:pt>
                <c:pt idx="8">
                  <c:v>0.045577803182790755</c:v>
                </c:pt>
                <c:pt idx="9">
                  <c:v>0.014142096342954994</c:v>
                </c:pt>
                <c:pt idx="10">
                  <c:v>0.01328139813930839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08523812299236289</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4288473994712402</c:v>
                </c:pt>
                <c:pt idx="1">
                  <c:v>0.0019624854974127914</c:v>
                </c:pt>
                <c:pt idx="2">
                  <c:v>0.007133569338501351</c:v>
                </c:pt>
                <c:pt idx="3">
                  <c:v>0.027578145677071585</c:v>
                </c:pt>
                <c:pt idx="4">
                  <c:v>0.007934838096100091</c:v>
                </c:pt>
                <c:pt idx="5">
                  <c:v>0.036149731715708726</c:v>
                </c:pt>
                <c:pt idx="6">
                  <c:v>0.03855500377369111</c:v>
                </c:pt>
                <c:pt idx="7">
                  <c:v>0.06010797429703331</c:v>
                </c:pt>
                <c:pt idx="8">
                  <c:v>0.044827940054554136</c:v>
                </c:pt>
                <c:pt idx="9">
                  <c:v>0.03827614628527472</c:v>
                </c:pt>
                <c:pt idx="10">
                  <c:v>0.04088440787620451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031836619340219</c:v>
                </c:pt>
                <c:pt idx="2">
                  <c:v>0.001591815096428842</c:v>
                </c:pt>
                <c:pt idx="3">
                  <c:v>0.006435589675724803</c:v>
                </c:pt>
                <c:pt idx="4">
                  <c:v>0.0140854118527152</c:v>
                </c:pt>
                <c:pt idx="5">
                  <c:v>0.0036704796011847963</c:v>
                </c:pt>
                <c:pt idx="6">
                  <c:v>0.003448342923783125</c:v>
                </c:pt>
                <c:pt idx="7">
                  <c:v>0.0050893010632526514</c:v>
                </c:pt>
                <c:pt idx="8">
                  <c:v>0.00796461302849714</c:v>
                </c:pt>
                <c:pt idx="9">
                  <c:v>0.000682220563465201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9309359153504929</c:v>
                </c:pt>
                <c:pt idx="2">
                  <c:v>0.0009244435727425974</c:v>
                </c:pt>
                <c:pt idx="3">
                  <c:v>0.0037434579292724554</c:v>
                </c:pt>
                <c:pt idx="4">
                  <c:v>0.016420078529604212</c:v>
                </c:pt>
                <c:pt idx="5">
                  <c:v>0.03556501371844642</c:v>
                </c:pt>
                <c:pt idx="6">
                  <c:v>0.021608154621184213</c:v>
                </c:pt>
                <c:pt idx="7">
                  <c:v>0.04743135369670155</c:v>
                </c:pt>
                <c:pt idx="8">
                  <c:v>0.04495356870267631</c:v>
                </c:pt>
                <c:pt idx="9">
                  <c:v>0.03512956151264167</c:v>
                </c:pt>
                <c:pt idx="10">
                  <c:v>0.00961243467049713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592770565053023</c:v>
                </c:pt>
                <c:pt idx="1">
                  <c:v>0.0013075726762353703</c:v>
                </c:pt>
                <c:pt idx="2">
                  <c:v>0.002796620416185708</c:v>
                </c:pt>
                <c:pt idx="3">
                  <c:v>0.0011397565589218283</c:v>
                </c:pt>
                <c:pt idx="4">
                  <c:v>0.007681034676699036</c:v>
                </c:pt>
                <c:pt idx="5">
                  <c:v>0.012892682765606138</c:v>
                </c:pt>
                <c:pt idx="6">
                  <c:v>0.029896382668000047</c:v>
                </c:pt>
                <c:pt idx="7">
                  <c:v>0.02097270959881264</c:v>
                </c:pt>
                <c:pt idx="8">
                  <c:v>0.04819439260511157</c:v>
                </c:pt>
                <c:pt idx="9">
                  <c:v>0.01147261921958382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2066226389675</c:v>
                </c:pt>
                <c:pt idx="1">
                  <c:v>0.011322501101184693</c:v>
                </c:pt>
                <c:pt idx="2">
                  <c:v>0.013914552193722339</c:v>
                </c:pt>
                <c:pt idx="3">
                  <c:v>0.09004346085649977</c:v>
                </c:pt>
                <c:pt idx="4">
                  <c:v>0.057044640694140274</c:v>
                </c:pt>
                <c:pt idx="5">
                  <c:v>0.12465870549148711</c:v>
                </c:pt>
                <c:pt idx="6">
                  <c:v>0.11514928294657306</c:v>
                </c:pt>
                <c:pt idx="7">
                  <c:v>0.1871274516940177</c:v>
                </c:pt>
                <c:pt idx="8">
                  <c:v>0.21430449882698097</c:v>
                </c:pt>
                <c:pt idx="9">
                  <c:v>0.10899183968071159</c:v>
                </c:pt>
                <c:pt idx="10">
                  <c:v>0.0638224042507857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857522726619293</c:v>
                </c:pt>
                <c:pt idx="1">
                  <c:v>0.0026686302252636046</c:v>
                </c:pt>
                <c:pt idx="3">
                  <c:v>0.0012081870117795275</c:v>
                </c:pt>
                <c:pt idx="4">
                  <c:v>0.0035147520095589174</c:v>
                </c:pt>
                <c:pt idx="5">
                  <c:v>0.0068236969213125685</c:v>
                </c:pt>
                <c:pt idx="6">
                  <c:v>0.005014250255003192</c:v>
                </c:pt>
                <c:pt idx="7">
                  <c:v>0.006674414843352948</c:v>
                </c:pt>
                <c:pt idx="8">
                  <c:v>0.0012941906003691086</c:v>
                </c:pt>
                <c:pt idx="9">
                  <c:v>0.000930073273624266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4377507072772</c:v>
                </c:pt>
                <c:pt idx="1">
                  <c:v>0.019033626479877733</c:v>
                </c:pt>
                <c:pt idx="2">
                  <c:v>0.019827508280769842</c:v>
                </c:pt>
                <c:pt idx="3">
                  <c:v>0.046176309521501764</c:v>
                </c:pt>
                <c:pt idx="4">
                  <c:v>0.0691414471850965</c:v>
                </c:pt>
                <c:pt idx="5">
                  <c:v>0.0990885822044972</c:v>
                </c:pt>
                <c:pt idx="6">
                  <c:v>0.12890045057876498</c:v>
                </c:pt>
                <c:pt idx="7">
                  <c:v>0.17819960100478047</c:v>
                </c:pt>
                <c:pt idx="8">
                  <c:v>0.24263268612335281</c:v>
                </c:pt>
                <c:pt idx="9">
                  <c:v>0.09166950552699936</c:v>
                </c:pt>
                <c:pt idx="10">
                  <c:v>0.0886259055872865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94847687755715</c:v>
                </c:pt>
                <c:pt idx="1">
                  <c:v>0.002255028483403057</c:v>
                </c:pt>
                <c:pt idx="2">
                  <c:v>0.003460401661324455</c:v>
                </c:pt>
                <c:pt idx="3">
                  <c:v>0.008154745536428228</c:v>
                </c:pt>
                <c:pt idx="4">
                  <c:v>0.01660420269013184</c:v>
                </c:pt>
                <c:pt idx="5">
                  <c:v>0.012212953095945937</c:v>
                </c:pt>
                <c:pt idx="6">
                  <c:v>0.006900514686939858</c:v>
                </c:pt>
                <c:pt idx="7">
                  <c:v>0.027956871870939873</c:v>
                </c:pt>
                <c:pt idx="8">
                  <c:v>0.01668129465014956</c:v>
                </c:pt>
                <c:pt idx="9">
                  <c:v>0.00430848899950385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7080153388383626</c:v>
                </c:pt>
                <c:pt idx="4">
                  <c:v>0.003943904194868299</c:v>
                </c:pt>
                <c:pt idx="5">
                  <c:v>0.004162520737261609</c:v>
                </c:pt>
                <c:pt idx="6">
                  <c:v>0.002265301182406048</c:v>
                </c:pt>
                <c:pt idx="7">
                  <c:v>0.007071420527453632</c:v>
                </c:pt>
                <c:pt idx="8">
                  <c:v>0.001791609322872437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6168042268465347</c:v>
                </c:pt>
                <c:pt idx="2">
                  <c:v>0.0009857273792146031</c:v>
                </c:pt>
                <c:pt idx="3">
                  <c:v>0.007454826964875372</c:v>
                </c:pt>
                <c:pt idx="4">
                  <c:v>0.00308344150254371</c:v>
                </c:pt>
                <c:pt idx="5">
                  <c:v>0.002739684608011621</c:v>
                </c:pt>
                <c:pt idx="6">
                  <c:v>0.02322663571670125</c:v>
                </c:pt>
                <c:pt idx="7">
                  <c:v>0.018569634938066275</c:v>
                </c:pt>
                <c:pt idx="8">
                  <c:v>0.038998618831462294</c:v>
                </c:pt>
                <c:pt idx="9">
                  <c:v>0.018510736315701277</c:v>
                </c:pt>
                <c:pt idx="10">
                  <c:v>0.01337498568099573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35781438750521</c:v>
                </c:pt>
                <c:pt idx="1">
                  <c:v>0.005438681588317061</c:v>
                </c:pt>
                <c:pt idx="2">
                  <c:v>0.006017531219052671</c:v>
                </c:pt>
                <c:pt idx="3">
                  <c:v>0.013610411693189252</c:v>
                </c:pt>
                <c:pt idx="4">
                  <c:v>0.023837432757127176</c:v>
                </c:pt>
                <c:pt idx="5">
                  <c:v>0.030631764830803074</c:v>
                </c:pt>
                <c:pt idx="6">
                  <c:v>0.03589000800244209</c:v>
                </c:pt>
                <c:pt idx="7">
                  <c:v>0.06263168057157</c:v>
                </c:pt>
                <c:pt idx="8">
                  <c:v>0.06486657344665014</c:v>
                </c:pt>
                <c:pt idx="9">
                  <c:v>0.016416933954930282</c:v>
                </c:pt>
                <c:pt idx="10">
                  <c:v>0.0699660727764302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314502071593158</c:v>
                </c:pt>
                <c:pt idx="1">
                  <c:v>0.003921617374636428</c:v>
                </c:pt>
                <c:pt idx="2">
                  <c:v>0.0024180872561258187</c:v>
                </c:pt>
                <c:pt idx="3">
                  <c:v>0.003044906558163658</c:v>
                </c:pt>
                <c:pt idx="4">
                  <c:v>0.00593952992322118</c:v>
                </c:pt>
                <c:pt idx="5">
                  <c:v>0.03219895875619794</c:v>
                </c:pt>
                <c:pt idx="6">
                  <c:v>0.029373752439176528</c:v>
                </c:pt>
                <c:pt idx="7">
                  <c:v>0.03377198685068925</c:v>
                </c:pt>
                <c:pt idx="8">
                  <c:v>0.057069396262061395</c:v>
                </c:pt>
                <c:pt idx="9">
                  <c:v>0.04059972745130963</c:v>
                </c:pt>
                <c:pt idx="10">
                  <c:v>0.00445786285679621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355110242771923</c:v>
                </c:pt>
                <c:pt idx="1">
                  <c:v>0.003477573835458152</c:v>
                </c:pt>
                <c:pt idx="2">
                  <c:v>0.0062903260775155415</c:v>
                </c:pt>
                <c:pt idx="3">
                  <c:v>0.0030646537123525342</c:v>
                </c:pt>
                <c:pt idx="4">
                  <c:v>0.007447731791260472</c:v>
                </c:pt>
                <c:pt idx="5">
                  <c:v>0.010749193176533278</c:v>
                </c:pt>
                <c:pt idx="6">
                  <c:v>0.021474720079233695</c:v>
                </c:pt>
                <c:pt idx="7">
                  <c:v>0.024416423643911528</c:v>
                </c:pt>
                <c:pt idx="8">
                  <c:v>0.05498729019640961</c:v>
                </c:pt>
                <c:pt idx="9">
                  <c:v>0.0105944530608059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4377507072772</c:v>
                </c:pt>
                <c:pt idx="1">
                  <c:v>0.019033626479877733</c:v>
                </c:pt>
                <c:pt idx="2">
                  <c:v>0.019827508280769842</c:v>
                </c:pt>
                <c:pt idx="3">
                  <c:v>0.046176309521501764</c:v>
                </c:pt>
                <c:pt idx="4">
                  <c:v>0.0691414471850965</c:v>
                </c:pt>
                <c:pt idx="5">
                  <c:v>0.0990885822044972</c:v>
                </c:pt>
                <c:pt idx="6">
                  <c:v>0.12890045057876498</c:v>
                </c:pt>
                <c:pt idx="7">
                  <c:v>0.17819960100478047</c:v>
                </c:pt>
                <c:pt idx="8">
                  <c:v>0.24263268612335281</c:v>
                </c:pt>
                <c:pt idx="9">
                  <c:v>0.09166950552699936</c:v>
                </c:pt>
                <c:pt idx="10">
                  <c:v>0.0886259055872865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263676612039355</c:v>
                </c:pt>
                <c:pt idx="1">
                  <c:v>0.0022794996224303064</c:v>
                </c:pt>
                <c:pt idx="2">
                  <c:v>0.0005938330718224053</c:v>
                </c:pt>
                <c:pt idx="3">
                  <c:v>0.001158301071095546</c:v>
                </c:pt>
                <c:pt idx="4">
                  <c:v>0.002111782342933432</c:v>
                </c:pt>
                <c:pt idx="5">
                  <c:v>0.00646942697598207</c:v>
                </c:pt>
                <c:pt idx="6">
                  <c:v>0.010638859695420368</c:v>
                </c:pt>
                <c:pt idx="7">
                  <c:v>0.003567612059484726</c:v>
                </c:pt>
                <c:pt idx="8">
                  <c:v>0.0011790120035336466</c:v>
                </c:pt>
                <c:pt idx="9">
                  <c:v>0.000727167746205351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817840100762583</c:v>
                </c:pt>
                <c:pt idx="1">
                  <c:v>0.004710079937720061</c:v>
                </c:pt>
                <c:pt idx="2">
                  <c:v>0.0035365833603226166</c:v>
                </c:pt>
                <c:pt idx="3">
                  <c:v>0.011215191341785913</c:v>
                </c:pt>
                <c:pt idx="4">
                  <c:v>0.017157682031308918</c:v>
                </c:pt>
                <c:pt idx="5">
                  <c:v>0.010345007324616792</c:v>
                </c:pt>
                <c:pt idx="6">
                  <c:v>0.009931055360339294</c:v>
                </c:pt>
                <c:pt idx="7">
                  <c:v>0.020310265934079454</c:v>
                </c:pt>
                <c:pt idx="8">
                  <c:v>0.01935877735368818</c:v>
                </c:pt>
                <c:pt idx="9">
                  <c:v>0.002172927183804752</c:v>
                </c:pt>
                <c:pt idx="10">
                  <c:v>0.001174804828085007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6981271760873598</c:v>
                </c:pt>
                <c:pt idx="4">
                  <c:v>0.007599096365085087</c:v>
                </c:pt>
                <c:pt idx="5">
                  <c:v>0.003592422073275713</c:v>
                </c:pt>
                <c:pt idx="6">
                  <c:v>0.0032777212980458176</c:v>
                </c:pt>
                <c:pt idx="7">
                  <c:v>0.004155694768489085</c:v>
                </c:pt>
                <c:pt idx="8">
                  <c:v>0.0018617436727184685</c:v>
                </c:pt>
                <c:pt idx="9">
                  <c:v>0.001441070302449457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499321807132914</c:v>
                </c:pt>
                <c:pt idx="2">
                  <c:v>0.0005661808721516262</c:v>
                </c:pt>
                <c:pt idx="3">
                  <c:v>0.008233353455801668</c:v>
                </c:pt>
                <c:pt idx="4">
                  <c:v>0.003160767975924207</c:v>
                </c:pt>
                <c:pt idx="5">
                  <c:v>0.008278820528877627</c:v>
                </c:pt>
                <c:pt idx="6">
                  <c:v>0.015554706055243884</c:v>
                </c:pt>
                <c:pt idx="7">
                  <c:v>0.03108971543128354</c:v>
                </c:pt>
                <c:pt idx="8">
                  <c:v>0.031262224369488154</c:v>
                </c:pt>
                <c:pt idx="9">
                  <c:v>0.0201649042699784</c:v>
                </c:pt>
                <c:pt idx="10">
                  <c:v>0.00539903477521632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641326002405482</c:v>
                </c:pt>
                <c:pt idx="1">
                  <c:v>0.0061713187474905715</c:v>
                </c:pt>
                <c:pt idx="2">
                  <c:v>0.016758228058257527</c:v>
                </c:pt>
                <c:pt idx="3">
                  <c:v>0.013772482577596659</c:v>
                </c:pt>
                <c:pt idx="4">
                  <c:v>0.012019049193768852</c:v>
                </c:pt>
                <c:pt idx="5">
                  <c:v>0.04236039804895471</c:v>
                </c:pt>
                <c:pt idx="6">
                  <c:v>0.05128419903484042</c:v>
                </c:pt>
                <c:pt idx="7">
                  <c:v>0.056442138221051694</c:v>
                </c:pt>
                <c:pt idx="8">
                  <c:v>0.055836186527998155</c:v>
                </c:pt>
                <c:pt idx="9">
                  <c:v>0.06736591564984633</c:v>
                </c:pt>
                <c:pt idx="10">
                  <c:v>0.0159040947757535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895100899713595</c:v>
                </c:pt>
                <c:pt idx="1">
                  <c:v>0.004337846157663012</c:v>
                </c:pt>
                <c:pt idx="2">
                  <c:v>0.003410356471032117</c:v>
                </c:pt>
                <c:pt idx="3">
                  <c:v>0.0036764375034963534</c:v>
                </c:pt>
                <c:pt idx="4">
                  <c:v>0.012088339297398006</c:v>
                </c:pt>
                <c:pt idx="5">
                  <c:v>0.03054474966700302</c:v>
                </c:pt>
                <c:pt idx="6">
                  <c:v>0.02695129815056332</c:v>
                </c:pt>
                <c:pt idx="7">
                  <c:v>0.03765168212342693</c:v>
                </c:pt>
                <c:pt idx="8">
                  <c:v>0.05217987463835769</c:v>
                </c:pt>
                <c:pt idx="9">
                  <c:v>0.03258373342713391</c:v>
                </c:pt>
                <c:pt idx="10">
                  <c:v>0.001178236305298287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069135824413645</c:v>
                </c:pt>
                <c:pt idx="1">
                  <c:v>0.0062330638905970254</c:v>
                </c:pt>
                <c:pt idx="2">
                  <c:v>0.005536268127668419</c:v>
                </c:pt>
                <c:pt idx="3">
                  <c:v>0.003436886079237287</c:v>
                </c:pt>
                <c:pt idx="4">
                  <c:v>0.009653903524515712</c:v>
                </c:pt>
                <c:pt idx="5">
                  <c:v>0.01146692879949864</c:v>
                </c:pt>
                <c:pt idx="6">
                  <c:v>0.02459410064040544</c:v>
                </c:pt>
                <c:pt idx="7">
                  <c:v>0.030474623140803125</c:v>
                </c:pt>
                <c:pt idx="8">
                  <c:v>0.026328978311202435</c:v>
                </c:pt>
                <c:pt idx="9">
                  <c:v>0.013911774816376721</c:v>
                </c:pt>
                <c:pt idx="10">
                  <c:v>0.001712731774731790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976031891419325</c:v>
                </c:pt>
                <c:pt idx="1">
                  <c:v>0.01898920513109154</c:v>
                </c:pt>
                <c:pt idx="2">
                  <c:v>0.019765906665055493</c:v>
                </c:pt>
                <c:pt idx="3">
                  <c:v>0.03648784553610459</c:v>
                </c:pt>
                <c:pt idx="4">
                  <c:v>0.05902412100721781</c:v>
                </c:pt>
                <c:pt idx="5">
                  <c:v>0.09500198144347392</c:v>
                </c:pt>
                <c:pt idx="6">
                  <c:v>0.12750449061991379</c:v>
                </c:pt>
                <c:pt idx="7">
                  <c:v>0.17091420993466167</c:v>
                </c:pt>
                <c:pt idx="8">
                  <c:v>0.23378218539026666</c:v>
                </c:pt>
                <c:pt idx="9">
                  <c:v>0.09115750752845632</c:v>
                </c:pt>
                <c:pt idx="10">
                  <c:v>0.0886259055872865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2066226389675</c:v>
                </c:pt>
                <c:pt idx="1">
                  <c:v>0.011322501101184693</c:v>
                </c:pt>
                <c:pt idx="2">
                  <c:v>0.013914552193722339</c:v>
                </c:pt>
                <c:pt idx="3">
                  <c:v>0.09004346085649977</c:v>
                </c:pt>
                <c:pt idx="4">
                  <c:v>0.057044640694140274</c:v>
                </c:pt>
                <c:pt idx="5">
                  <c:v>0.12465870549148711</c:v>
                </c:pt>
                <c:pt idx="6">
                  <c:v>0.11514928294657306</c:v>
                </c:pt>
                <c:pt idx="7">
                  <c:v>0.1871274516940177</c:v>
                </c:pt>
                <c:pt idx="8">
                  <c:v>0.21430449882698097</c:v>
                </c:pt>
                <c:pt idx="9">
                  <c:v>0.10899183968071159</c:v>
                </c:pt>
                <c:pt idx="10">
                  <c:v>0.0638224042507857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123346018853603</c:v>
                </c:pt>
                <c:pt idx="2">
                  <c:v>0.0018696415779544519</c:v>
                </c:pt>
                <c:pt idx="3">
                  <c:v>0.02382706023599706</c:v>
                </c:pt>
                <c:pt idx="4">
                  <c:v>0.011748914298341443</c:v>
                </c:pt>
                <c:pt idx="5">
                  <c:v>0.011638719825346158</c:v>
                </c:pt>
                <c:pt idx="6">
                  <c:v>0.001867470044345322</c:v>
                </c:pt>
                <c:pt idx="7">
                  <c:v>0.0243093904235889</c:v>
                </c:pt>
                <c:pt idx="8">
                  <c:v>0.017865196144641857</c:v>
                </c:pt>
                <c:pt idx="9">
                  <c:v>0.00870779548426980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10202896374155589</c:v>
                </c:pt>
                <c:pt idx="3">
                  <c:v>0.008315817381319824</c:v>
                </c:pt>
                <c:pt idx="4">
                  <c:v>0.009528814340043575</c:v>
                </c:pt>
                <c:pt idx="6">
                  <c:v>0.0010506368196031462</c:v>
                </c:pt>
                <c:pt idx="7">
                  <c:v>0.01028528435928596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8304650269734875</c:v>
                </c:pt>
                <c:pt idx="2">
                  <c:v>0.0005941044512877672</c:v>
                </c:pt>
                <c:pt idx="3">
                  <c:v>0.011868609230876672</c:v>
                </c:pt>
                <c:pt idx="4">
                  <c:v>0.0038671376259804364</c:v>
                </c:pt>
                <c:pt idx="5">
                  <c:v>0.015305115455664623</c:v>
                </c:pt>
                <c:pt idx="6">
                  <c:v>0.017324136830591107</c:v>
                </c:pt>
                <c:pt idx="7">
                  <c:v>0.016915019898631072</c:v>
                </c:pt>
                <c:pt idx="8">
                  <c:v>0.045577803182790755</c:v>
                </c:pt>
                <c:pt idx="9">
                  <c:v>0.014142096342954994</c:v>
                </c:pt>
                <c:pt idx="10">
                  <c:v>0.01328139813930839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4288473994712402</c:v>
                </c:pt>
                <c:pt idx="1">
                  <c:v>0.0019624854974127914</c:v>
                </c:pt>
                <c:pt idx="2">
                  <c:v>0.007133569338501351</c:v>
                </c:pt>
                <c:pt idx="3">
                  <c:v>0.027578145677071585</c:v>
                </c:pt>
                <c:pt idx="4">
                  <c:v>0.007934838096100091</c:v>
                </c:pt>
                <c:pt idx="5">
                  <c:v>0.036149731715708726</c:v>
                </c:pt>
                <c:pt idx="6">
                  <c:v>0.03855500377369111</c:v>
                </c:pt>
                <c:pt idx="7">
                  <c:v>0.06010797429703331</c:v>
                </c:pt>
                <c:pt idx="8">
                  <c:v>0.044827940054554136</c:v>
                </c:pt>
                <c:pt idx="9">
                  <c:v>0.03827614628527472</c:v>
                </c:pt>
                <c:pt idx="10">
                  <c:v>0.04088440787620451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9309359153504929</c:v>
                </c:pt>
                <c:pt idx="2">
                  <c:v>0.0009244435727425974</c:v>
                </c:pt>
                <c:pt idx="3">
                  <c:v>0.0037434579292724554</c:v>
                </c:pt>
                <c:pt idx="4">
                  <c:v>0.016420078529604212</c:v>
                </c:pt>
                <c:pt idx="5">
                  <c:v>0.03556501371844642</c:v>
                </c:pt>
                <c:pt idx="6">
                  <c:v>0.021608154621184213</c:v>
                </c:pt>
                <c:pt idx="7">
                  <c:v>0.04743135369670155</c:v>
                </c:pt>
                <c:pt idx="8">
                  <c:v>0.04495356870267631</c:v>
                </c:pt>
                <c:pt idx="9">
                  <c:v>0.03512956151264167</c:v>
                </c:pt>
                <c:pt idx="10">
                  <c:v>0.00961243467049713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592770565053023</c:v>
                </c:pt>
                <c:pt idx="1">
                  <c:v>0.0013075726762353703</c:v>
                </c:pt>
                <c:pt idx="2">
                  <c:v>0.002796620416185708</c:v>
                </c:pt>
                <c:pt idx="3">
                  <c:v>0.0011397565589218283</c:v>
                </c:pt>
                <c:pt idx="4">
                  <c:v>0.007681034676699036</c:v>
                </c:pt>
                <c:pt idx="5">
                  <c:v>0.012892682765606138</c:v>
                </c:pt>
                <c:pt idx="6">
                  <c:v>0.029896382668000047</c:v>
                </c:pt>
                <c:pt idx="7">
                  <c:v>0.02097270959881264</c:v>
                </c:pt>
                <c:pt idx="8">
                  <c:v>0.04819439260511157</c:v>
                </c:pt>
                <c:pt idx="9">
                  <c:v>0.01147261921958382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2066226389675</c:v>
                </c:pt>
                <c:pt idx="1">
                  <c:v>0.011322501101184693</c:v>
                </c:pt>
                <c:pt idx="2">
                  <c:v>0.013914552193722339</c:v>
                </c:pt>
                <c:pt idx="3">
                  <c:v>0.09004346085649977</c:v>
                </c:pt>
                <c:pt idx="4">
                  <c:v>0.057044640694140274</c:v>
                </c:pt>
                <c:pt idx="5">
                  <c:v>0.12465870549148711</c:v>
                </c:pt>
                <c:pt idx="6">
                  <c:v>0.11514928294657306</c:v>
                </c:pt>
                <c:pt idx="7">
                  <c:v>0.1871274516940177</c:v>
                </c:pt>
                <c:pt idx="8">
                  <c:v>0.21430449882698097</c:v>
                </c:pt>
                <c:pt idx="9">
                  <c:v>0.10899183968071159</c:v>
                </c:pt>
                <c:pt idx="10">
                  <c:v>0.0638224042507857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857522726619293</c:v>
                </c:pt>
                <c:pt idx="1">
                  <c:v>0.0026686302252636046</c:v>
                </c:pt>
                <c:pt idx="3">
                  <c:v>0.0012081870117795275</c:v>
                </c:pt>
                <c:pt idx="4">
                  <c:v>0.0035147520095589174</c:v>
                </c:pt>
                <c:pt idx="5">
                  <c:v>0.0068236969213125685</c:v>
                </c:pt>
                <c:pt idx="6">
                  <c:v>0.005014250255003192</c:v>
                </c:pt>
                <c:pt idx="7">
                  <c:v>0.006674414843352948</c:v>
                </c:pt>
                <c:pt idx="8">
                  <c:v>0.0012941906003691086</c:v>
                </c:pt>
                <c:pt idx="9">
                  <c:v>0.000930073273624266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2066226389675</c:v>
                </c:pt>
                <c:pt idx="1">
                  <c:v>0.011322501101184693</c:v>
                </c:pt>
                <c:pt idx="2">
                  <c:v>0.013914552193722339</c:v>
                </c:pt>
                <c:pt idx="3">
                  <c:v>0.09004346085649977</c:v>
                </c:pt>
                <c:pt idx="4">
                  <c:v>0.057044640694140274</c:v>
                </c:pt>
                <c:pt idx="5">
                  <c:v>0.12465870549148711</c:v>
                </c:pt>
                <c:pt idx="6">
                  <c:v>0.11514928294657306</c:v>
                </c:pt>
                <c:pt idx="7">
                  <c:v>0.1871274516940177</c:v>
                </c:pt>
                <c:pt idx="8">
                  <c:v>0.21430449882698097</c:v>
                </c:pt>
                <c:pt idx="9">
                  <c:v>0.10899183968071159</c:v>
                </c:pt>
                <c:pt idx="10">
                  <c:v>0.0638224042507857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4377507072772</c:v>
                </c:pt>
                <c:pt idx="1">
                  <c:v>0.019033626479877733</c:v>
                </c:pt>
                <c:pt idx="2">
                  <c:v>0.019827508280769842</c:v>
                </c:pt>
                <c:pt idx="3">
                  <c:v>0.046176309521501764</c:v>
                </c:pt>
                <c:pt idx="4">
                  <c:v>0.0691414471850965</c:v>
                </c:pt>
                <c:pt idx="5">
                  <c:v>0.0990885822044972</c:v>
                </c:pt>
                <c:pt idx="6">
                  <c:v>0.12890045057876498</c:v>
                </c:pt>
                <c:pt idx="7">
                  <c:v>0.17819960100478047</c:v>
                </c:pt>
                <c:pt idx="8">
                  <c:v>0.24263268612335281</c:v>
                </c:pt>
                <c:pt idx="9">
                  <c:v>0.09166950552699936</c:v>
                </c:pt>
                <c:pt idx="10">
                  <c:v>0.0886259055872865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894847687755715</c:v>
                </c:pt>
                <c:pt idx="1">
                  <c:v>0.002255028483403057</c:v>
                </c:pt>
                <c:pt idx="2">
                  <c:v>0.003460401661324455</c:v>
                </c:pt>
                <c:pt idx="3">
                  <c:v>0.008154745536428228</c:v>
                </c:pt>
                <c:pt idx="4">
                  <c:v>0.01660420269013184</c:v>
                </c:pt>
                <c:pt idx="5">
                  <c:v>0.012212953095945937</c:v>
                </c:pt>
                <c:pt idx="6">
                  <c:v>0.006900514686939858</c:v>
                </c:pt>
                <c:pt idx="7">
                  <c:v>0.027956871870939873</c:v>
                </c:pt>
                <c:pt idx="8">
                  <c:v>0.01668129465014956</c:v>
                </c:pt>
                <c:pt idx="9">
                  <c:v>0.00430848899950385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16168042268465347</c:v>
                </c:pt>
                <c:pt idx="2">
                  <c:v>0.0009857273792146031</c:v>
                </c:pt>
                <c:pt idx="3">
                  <c:v>0.007454826964875372</c:v>
                </c:pt>
                <c:pt idx="4">
                  <c:v>0.00308344150254371</c:v>
                </c:pt>
                <c:pt idx="5">
                  <c:v>0.002739684608011621</c:v>
                </c:pt>
                <c:pt idx="6">
                  <c:v>0.02322663571670125</c:v>
                </c:pt>
                <c:pt idx="7">
                  <c:v>0.018569634938066275</c:v>
                </c:pt>
                <c:pt idx="8">
                  <c:v>0.038998618831462294</c:v>
                </c:pt>
                <c:pt idx="9">
                  <c:v>0.018510736315701277</c:v>
                </c:pt>
                <c:pt idx="10">
                  <c:v>0.01337498568099573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3477056941318963</c:v>
                </c:pt>
                <c:pt idx="7">
                  <c:v>0.0038707239974086903</c:v>
                </c:pt>
                <c:pt idx="8">
                  <c:v>0.004873755978302685</c:v>
                </c:pt>
                <c:pt idx="9">
                  <c:v>0.000783055113322963</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2035781438750521</c:v>
                </c:pt>
                <c:pt idx="1">
                  <c:v>0.005438681588317061</c:v>
                </c:pt>
                <c:pt idx="2">
                  <c:v>0.006017531219052671</c:v>
                </c:pt>
                <c:pt idx="3">
                  <c:v>0.013610411693189252</c:v>
                </c:pt>
                <c:pt idx="4">
                  <c:v>0.023837432757127176</c:v>
                </c:pt>
                <c:pt idx="5">
                  <c:v>0.030631764830803074</c:v>
                </c:pt>
                <c:pt idx="6">
                  <c:v>0.03589000800244209</c:v>
                </c:pt>
                <c:pt idx="7">
                  <c:v>0.06263168057157</c:v>
                </c:pt>
                <c:pt idx="8">
                  <c:v>0.06486657344665014</c:v>
                </c:pt>
                <c:pt idx="9">
                  <c:v>0.016416933954930282</c:v>
                </c:pt>
                <c:pt idx="10">
                  <c:v>0.0699660727764302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8">
                  <c:v>0.003063769390630727</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314502071593158</c:v>
                </c:pt>
                <c:pt idx="1">
                  <c:v>0.003921617374636428</c:v>
                </c:pt>
                <c:pt idx="2">
                  <c:v>0.0024180872561258187</c:v>
                </c:pt>
                <c:pt idx="3">
                  <c:v>0.003044906558163658</c:v>
                </c:pt>
                <c:pt idx="4">
                  <c:v>0.00593952992322118</c:v>
                </c:pt>
                <c:pt idx="5">
                  <c:v>0.03219895875619794</c:v>
                </c:pt>
                <c:pt idx="6">
                  <c:v>0.029373752439176528</c:v>
                </c:pt>
                <c:pt idx="7">
                  <c:v>0.03377198685068925</c:v>
                </c:pt>
                <c:pt idx="8">
                  <c:v>0.057069396262061395</c:v>
                </c:pt>
                <c:pt idx="9">
                  <c:v>0.04059972745130963</c:v>
                </c:pt>
                <c:pt idx="10">
                  <c:v>0.00445786285679621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02736253953385</c:v>
                </c:pt>
                <c:pt idx="1">
                  <c:v>0.011318994074405949</c:v>
                </c:pt>
                <c:pt idx="2">
                  <c:v>0.013460256505024365</c:v>
                </c:pt>
                <c:pt idx="3">
                  <c:v>0.06936521664391913</c:v>
                </c:pt>
                <c:pt idx="4">
                  <c:v>0.05116675523628414</c:v>
                </c:pt>
                <c:pt idx="5">
                  <c:v>0.11837496040208463</c:v>
                </c:pt>
                <c:pt idx="6">
                  <c:v>0.11426539819281499</c:v>
                </c:pt>
                <c:pt idx="7">
                  <c:v>0.17641086275812043</c:v>
                </c:pt>
                <c:pt idx="8">
                  <c:v>0.20271309129014373</c:v>
                </c:pt>
                <c:pt idx="9">
                  <c:v>0.10865829211834928</c:v>
                </c:pt>
                <c:pt idx="10">
                  <c:v>0.0638224042507857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5355110242771923</c:v>
                </c:pt>
                <c:pt idx="1">
                  <c:v>0.003477573835458152</c:v>
                </c:pt>
                <c:pt idx="2">
                  <c:v>0.0062903260775155415</c:v>
                </c:pt>
                <c:pt idx="3">
                  <c:v>0.0030646537123525342</c:v>
                </c:pt>
                <c:pt idx="4">
                  <c:v>0.007447731791260472</c:v>
                </c:pt>
                <c:pt idx="5">
                  <c:v>0.010749193176533278</c:v>
                </c:pt>
                <c:pt idx="6">
                  <c:v>0.021474720079233695</c:v>
                </c:pt>
                <c:pt idx="7">
                  <c:v>0.024416423643911528</c:v>
                </c:pt>
                <c:pt idx="8">
                  <c:v>0.05498729019640961</c:v>
                </c:pt>
                <c:pt idx="9">
                  <c:v>0.0105944530608059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4377507072772</c:v>
                </c:pt>
                <c:pt idx="1">
                  <c:v>0.019033626479877733</c:v>
                </c:pt>
                <c:pt idx="2">
                  <c:v>0.019827508280769842</c:v>
                </c:pt>
                <c:pt idx="3">
                  <c:v>0.046176309521501764</c:v>
                </c:pt>
                <c:pt idx="4">
                  <c:v>0.0691414471850965</c:v>
                </c:pt>
                <c:pt idx="5">
                  <c:v>0.0990885822044972</c:v>
                </c:pt>
                <c:pt idx="6">
                  <c:v>0.12890045057876498</c:v>
                </c:pt>
                <c:pt idx="7">
                  <c:v>0.17819960100478047</c:v>
                </c:pt>
                <c:pt idx="8">
                  <c:v>0.24263268612335281</c:v>
                </c:pt>
                <c:pt idx="9">
                  <c:v>0.09166950552699936</c:v>
                </c:pt>
                <c:pt idx="10">
                  <c:v>0.0886259055872865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263676612039355</c:v>
                </c:pt>
                <c:pt idx="1">
                  <c:v>0.0022794996224303064</c:v>
                </c:pt>
                <c:pt idx="2">
                  <c:v>0.0005938330718224053</c:v>
                </c:pt>
                <c:pt idx="3">
                  <c:v>0.001158301071095546</c:v>
                </c:pt>
                <c:pt idx="4">
                  <c:v>0.002111782342933432</c:v>
                </c:pt>
                <c:pt idx="5">
                  <c:v>0.00646942697598207</c:v>
                </c:pt>
                <c:pt idx="6">
                  <c:v>0.010638859695420368</c:v>
                </c:pt>
                <c:pt idx="7">
                  <c:v>0.003567612059484726</c:v>
                </c:pt>
                <c:pt idx="8">
                  <c:v>0.0011790120035336466</c:v>
                </c:pt>
                <c:pt idx="9">
                  <c:v>0.0007271677462053514</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123346018853603</c:v>
                </c:pt>
                <c:pt idx="2">
                  <c:v>0.0008484127522529444</c:v>
                </c:pt>
                <c:pt idx="5">
                  <c:v>0.0055378341523344725</c:v>
                </c:pt>
                <c:pt idx="6">
                  <c:v>0.0008144173936020193</c:v>
                </c:pt>
                <c:pt idx="7">
                  <c:v>0.006970389445443302</c:v>
                </c:pt>
                <c:pt idx="8">
                  <c:v>0.00739440852679598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3817840100762583</c:v>
                </c:pt>
                <c:pt idx="1">
                  <c:v>0.004710079937720061</c:v>
                </c:pt>
                <c:pt idx="2">
                  <c:v>0.0035365833603226166</c:v>
                </c:pt>
                <c:pt idx="3">
                  <c:v>0.011215191341785913</c:v>
                </c:pt>
                <c:pt idx="4">
                  <c:v>0.017157682031308918</c:v>
                </c:pt>
                <c:pt idx="5">
                  <c:v>0.010345007324616792</c:v>
                </c:pt>
                <c:pt idx="6">
                  <c:v>0.009931055360339294</c:v>
                </c:pt>
                <c:pt idx="7">
                  <c:v>0.020310265934079454</c:v>
                </c:pt>
                <c:pt idx="8">
                  <c:v>0.01935877735368818</c:v>
                </c:pt>
                <c:pt idx="9">
                  <c:v>0.002172927183804752</c:v>
                </c:pt>
                <c:pt idx="10">
                  <c:v>0.0011748048280850077</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3499321807132914</c:v>
                </c:pt>
                <c:pt idx="2">
                  <c:v>0.0005661808721516262</c:v>
                </c:pt>
                <c:pt idx="3">
                  <c:v>0.008233353455801668</c:v>
                </c:pt>
                <c:pt idx="4">
                  <c:v>0.003160767975924207</c:v>
                </c:pt>
                <c:pt idx="5">
                  <c:v>0.008278820528877627</c:v>
                </c:pt>
                <c:pt idx="6">
                  <c:v>0.015554706055243884</c:v>
                </c:pt>
                <c:pt idx="7">
                  <c:v>0.03108971543128354</c:v>
                </c:pt>
                <c:pt idx="8">
                  <c:v>0.031262224369488154</c:v>
                </c:pt>
                <c:pt idx="9">
                  <c:v>0.0201649042699784</c:v>
                </c:pt>
                <c:pt idx="10">
                  <c:v>0.005399034775216324</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21529431183839134</c:v>
                </c:pt>
                <c:pt idx="7">
                  <c:v>0.005036584994563639</c:v>
                </c:pt>
                <c:pt idx="8">
                  <c:v>0.004385792473025565</c:v>
                </c:pt>
                <c:pt idx="9">
                  <c:v>0.001088078530865876</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641326002405482</c:v>
                </c:pt>
                <c:pt idx="1">
                  <c:v>0.0061713187474905715</c:v>
                </c:pt>
                <c:pt idx="2">
                  <c:v>0.016758228058257527</c:v>
                </c:pt>
                <c:pt idx="3">
                  <c:v>0.013772482577596659</c:v>
                </c:pt>
                <c:pt idx="4">
                  <c:v>0.012019049193768852</c:v>
                </c:pt>
                <c:pt idx="5">
                  <c:v>0.04236039804895471</c:v>
                </c:pt>
                <c:pt idx="6">
                  <c:v>0.05128419903484042</c:v>
                </c:pt>
                <c:pt idx="7">
                  <c:v>0.056442138221051694</c:v>
                </c:pt>
                <c:pt idx="8">
                  <c:v>0.055836186527998155</c:v>
                </c:pt>
                <c:pt idx="9">
                  <c:v>0.06736591564984633</c:v>
                </c:pt>
                <c:pt idx="10">
                  <c:v>0.01590409477575352</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20678244212580632</c:v>
                </c:pt>
                <c:pt idx="4">
                  <c:v>0.005859307987830031</c:v>
                </c:pt>
                <c:pt idx="5">
                  <c:v>0.006113105978397063</c:v>
                </c:pt>
                <c:pt idx="7">
                  <c:v>0.01001023248351958</c:v>
                </c:pt>
                <c:pt idx="8">
                  <c:v>0.01093921999033928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14235997940873469</c:v>
                </c:pt>
                <c:pt idx="8">
                  <c:v>0.004106654669764799</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4895100899713595</c:v>
                </c:pt>
                <c:pt idx="1">
                  <c:v>0.004337846157663012</c:v>
                </c:pt>
                <c:pt idx="2">
                  <c:v>0.003410356471032117</c:v>
                </c:pt>
                <c:pt idx="3">
                  <c:v>0.0036764375034963534</c:v>
                </c:pt>
                <c:pt idx="4">
                  <c:v>0.012088339297398006</c:v>
                </c:pt>
                <c:pt idx="5">
                  <c:v>0.03054474966700302</c:v>
                </c:pt>
                <c:pt idx="6">
                  <c:v>0.02695129815056332</c:v>
                </c:pt>
                <c:pt idx="7">
                  <c:v>0.03765168212342693</c:v>
                </c:pt>
                <c:pt idx="8">
                  <c:v>0.05217987463835769</c:v>
                </c:pt>
                <c:pt idx="9">
                  <c:v>0.03258373342713391</c:v>
                </c:pt>
                <c:pt idx="10">
                  <c:v>0.0011782363052982876</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8069135824413645</c:v>
                </c:pt>
                <c:pt idx="1">
                  <c:v>0.0062330638905970254</c:v>
                </c:pt>
                <c:pt idx="2">
                  <c:v>0.005536268127668419</c:v>
                </c:pt>
                <c:pt idx="3">
                  <c:v>0.003436886079237287</c:v>
                </c:pt>
                <c:pt idx="4">
                  <c:v>0.009653903524515712</c:v>
                </c:pt>
                <c:pt idx="5">
                  <c:v>0.01146692879949864</c:v>
                </c:pt>
                <c:pt idx="6">
                  <c:v>0.02459410064040544</c:v>
                </c:pt>
                <c:pt idx="7">
                  <c:v>0.030474623140803125</c:v>
                </c:pt>
                <c:pt idx="8">
                  <c:v>0.026328978311202435</c:v>
                </c:pt>
                <c:pt idx="9">
                  <c:v>0.013911774816376721</c:v>
                </c:pt>
                <c:pt idx="10">
                  <c:v>0.001712731774731790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4787050287861047</c:v>
                </c:pt>
                <c:pt idx="1">
                  <c:v>0.0005640962497445587</c:v>
                </c:pt>
                <c:pt idx="2">
                  <c:v>0.0021897928943080225</c:v>
                </c:pt>
                <c:pt idx="3">
                  <c:v>0.0007760242824367225</c:v>
                </c:pt>
                <c:pt idx="4">
                  <c:v>0.0038510096173754497</c:v>
                </c:pt>
                <c:pt idx="5">
                  <c:v>0.007687804340394887</c:v>
                </c:pt>
                <c:pt idx="6">
                  <c:v>0.006026673404257793</c:v>
                </c:pt>
                <c:pt idx="7">
                  <c:v>0.0020902843444694235</c:v>
                </c:pt>
                <c:pt idx="8">
                  <c:v>0.00226833511837348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2066226389675</c:v>
                </c:pt>
                <c:pt idx="1">
                  <c:v>0.011322501101184693</c:v>
                </c:pt>
                <c:pt idx="2">
                  <c:v>0.013914552193722339</c:v>
                </c:pt>
                <c:pt idx="3">
                  <c:v>0.09004346085649977</c:v>
                </c:pt>
                <c:pt idx="4">
                  <c:v>0.057044640694140274</c:v>
                </c:pt>
                <c:pt idx="5">
                  <c:v>0.12465870549148711</c:v>
                </c:pt>
                <c:pt idx="6">
                  <c:v>0.11514928294657306</c:v>
                </c:pt>
                <c:pt idx="7">
                  <c:v>0.1871274516940177</c:v>
                </c:pt>
                <c:pt idx="8">
                  <c:v>0.21430449882698097</c:v>
                </c:pt>
                <c:pt idx="9">
                  <c:v>0.10899183968071159</c:v>
                </c:pt>
                <c:pt idx="10">
                  <c:v>0.0638224042507857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4123346018853603</c:v>
                </c:pt>
                <c:pt idx="2">
                  <c:v>0.0018696415779544519</c:v>
                </c:pt>
                <c:pt idx="3">
                  <c:v>0.02382706023599706</c:v>
                </c:pt>
                <c:pt idx="4">
                  <c:v>0.011748914298341443</c:v>
                </c:pt>
                <c:pt idx="5">
                  <c:v>0.011638719825346158</c:v>
                </c:pt>
                <c:pt idx="6">
                  <c:v>0.001867470044345322</c:v>
                </c:pt>
                <c:pt idx="7">
                  <c:v>0.0243093904235889</c:v>
                </c:pt>
                <c:pt idx="8">
                  <c:v>0.017865196144641857</c:v>
                </c:pt>
                <c:pt idx="9">
                  <c:v>0.00870779548426980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Enfant</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1">
                  <c:v>0.0008304650269734875</c:v>
                </c:pt>
                <c:pt idx="2">
                  <c:v>0.0005941044512877672</c:v>
                </c:pt>
                <c:pt idx="3">
                  <c:v>0.011868609230876672</c:v>
                </c:pt>
                <c:pt idx="4">
                  <c:v>0.0038671376259804364</c:v>
                </c:pt>
                <c:pt idx="5">
                  <c:v>0.015305115455664623</c:v>
                </c:pt>
                <c:pt idx="6">
                  <c:v>0.017324136830591107</c:v>
                </c:pt>
                <c:pt idx="7">
                  <c:v>0.016915019898631072</c:v>
                </c:pt>
                <c:pt idx="8">
                  <c:v>0.045577803182790755</c:v>
                </c:pt>
                <c:pt idx="9">
                  <c:v>0.014142096342954994</c:v>
                </c:pt>
                <c:pt idx="10">
                  <c:v>0.013281398139308398</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Frais A Tartiner</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4139914820291262</c:v>
                </c:pt>
                <c:pt idx="6">
                  <c:v>0.000568974378596114</c:v>
                </c:pt>
                <c:pt idx="7">
                  <c:v>0.002979979285306596</c:v>
                </c:pt>
                <c:pt idx="8">
                  <c:v>0.009771293211673018</c:v>
                </c:pt>
                <c:pt idx="9">
                  <c:v>0.0013178603167086221</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4288473994712402</c:v>
                </c:pt>
                <c:pt idx="1">
                  <c:v>0.0019624854974127914</c:v>
                </c:pt>
                <c:pt idx="2">
                  <c:v>0.007133569338501351</c:v>
                </c:pt>
                <c:pt idx="3">
                  <c:v>0.027578145677071585</c:v>
                </c:pt>
                <c:pt idx="4">
                  <c:v>0.007934838096100091</c:v>
                </c:pt>
                <c:pt idx="5">
                  <c:v>0.036149731715708726</c:v>
                </c:pt>
                <c:pt idx="6">
                  <c:v>0.03855500377369111</c:v>
                </c:pt>
                <c:pt idx="7">
                  <c:v>0.06010797429703331</c:v>
                </c:pt>
                <c:pt idx="8">
                  <c:v>0.044827940054554136</c:v>
                </c:pt>
                <c:pt idx="9">
                  <c:v>0.03827614628527472</c:v>
                </c:pt>
                <c:pt idx="10">
                  <c:v>0.040884407876204516</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alad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7">
                  <c:v>0.0005712870618898371</c:v>
                </c:pt>
                <c:pt idx="8">
                  <c:v>0.003509518613560915</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9309359153504929</c:v>
                </c:pt>
                <c:pt idx="2">
                  <c:v>0.0009244435727425974</c:v>
                </c:pt>
                <c:pt idx="3">
                  <c:v>0.0037434579292724554</c:v>
                </c:pt>
                <c:pt idx="4">
                  <c:v>0.016420078529604212</c:v>
                </c:pt>
                <c:pt idx="5">
                  <c:v>0.03556501371844642</c:v>
                </c:pt>
                <c:pt idx="6">
                  <c:v>0.021608154621184213</c:v>
                </c:pt>
                <c:pt idx="7">
                  <c:v>0.04743135369670155</c:v>
                </c:pt>
                <c:pt idx="8">
                  <c:v>0.04495356870267631</c:v>
                </c:pt>
                <c:pt idx="9">
                  <c:v>0.03512956151264167</c:v>
                </c:pt>
                <c:pt idx="10">
                  <c:v>0.009612434670497137</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lassiqu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9592770565053023</c:v>
                </c:pt>
                <c:pt idx="1">
                  <c:v>0.0013075726762353703</c:v>
                </c:pt>
                <c:pt idx="2">
                  <c:v>0.002796620416185708</c:v>
                </c:pt>
                <c:pt idx="3">
                  <c:v>0.0011397565589218283</c:v>
                </c:pt>
                <c:pt idx="4">
                  <c:v>0.007681034676699036</c:v>
                </c:pt>
                <c:pt idx="5">
                  <c:v>0.012892682765606138</c:v>
                </c:pt>
                <c:pt idx="6">
                  <c:v>0.029896382668000047</c:v>
                </c:pt>
                <c:pt idx="7">
                  <c:v>0.02097270959881264</c:v>
                </c:pt>
                <c:pt idx="8">
                  <c:v>0.04819439260511157</c:v>
                </c:pt>
                <c:pt idx="9">
                  <c:v>0.011472619219583828</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Chevr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2066226389675</c:v>
                </c:pt>
                <c:pt idx="1">
                  <c:v>0.011322501101184693</c:v>
                </c:pt>
                <c:pt idx="2">
                  <c:v>0.013914552193722339</c:v>
                </c:pt>
                <c:pt idx="3">
                  <c:v>0.09004346085649977</c:v>
                </c:pt>
                <c:pt idx="4">
                  <c:v>0.057044640694140274</c:v>
                </c:pt>
                <c:pt idx="5">
                  <c:v>0.12465870549148711</c:v>
                </c:pt>
                <c:pt idx="6">
                  <c:v>0.11514928294657306</c:v>
                </c:pt>
                <c:pt idx="7">
                  <c:v>0.1871274516940177</c:v>
                </c:pt>
                <c:pt idx="8">
                  <c:v>0.21430449882698097</c:v>
                </c:pt>
                <c:pt idx="9">
                  <c:v>0.10899183968071159</c:v>
                </c:pt>
                <c:pt idx="10">
                  <c:v>0.0638224042507857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8857522726619293</c:v>
                </c:pt>
                <c:pt idx="1">
                  <c:v>0.0026686302252636046</c:v>
                </c:pt>
                <c:pt idx="3">
                  <c:v>0.0012081870117795275</c:v>
                </c:pt>
                <c:pt idx="4">
                  <c:v>0.0035147520095589174</c:v>
                </c:pt>
                <c:pt idx="5">
                  <c:v>0.0068236969213125685</c:v>
                </c:pt>
                <c:pt idx="6">
                  <c:v>0.005014250255003192</c:v>
                </c:pt>
                <c:pt idx="7">
                  <c:v>0.006674414843352948</c:v>
                </c:pt>
                <c:pt idx="8">
                  <c:v>0.0012941906003691086</c:v>
                </c:pt>
                <c:pt idx="9">
                  <c:v>0.000930073273624266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Brebis</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pecialit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
                  <c:v>0.24299999999999999</c:v>
                </c:pt>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0" formatCode="0.0%;\-0.0%;0.0%">
                  <c:v>3.1E-2</c:v>
                </c:pt>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2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34580878578177295</c:v>
                </c:pt>
                <c:pt idx="3">
                  <c:v>0.0006889822634042167</c:v>
                </c:pt>
                <c:pt idx="4">
                  <c:v>0.0010002568881030992</c:v>
                </c:pt>
                <c:pt idx="5">
                  <c:v>0.0026683789960321833</c:v>
                </c:pt>
                <c:pt idx="7">
                  <c:v>0.006489805368138759</c:v>
                </c:pt>
                <c:pt idx="8">
                  <c:v>0.006949271566430385</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4377507072772</c:v>
                </c:pt>
                <c:pt idx="1">
                  <c:v>0.019033626479877733</c:v>
                </c:pt>
                <c:pt idx="2">
                  <c:v>0.019827508280769842</c:v>
                </c:pt>
                <c:pt idx="3">
                  <c:v>0.046176309521501764</c:v>
                </c:pt>
                <c:pt idx="4">
                  <c:v>0.0691414471850965</c:v>
                </c:pt>
                <c:pt idx="5">
                  <c:v>0.0990885822044972</c:v>
                </c:pt>
                <c:pt idx="6">
                  <c:v>0.12890045057876498</c:v>
                </c:pt>
                <c:pt idx="7">
                  <c:v>0.17819960100478047</c:v>
                </c:pt>
                <c:pt idx="8">
                  <c:v>0.24263268612335281</c:v>
                </c:pt>
                <c:pt idx="9">
                  <c:v>0.09166950552699936</c:v>
                </c:pt>
                <c:pt idx="10">
                  <c:v>0.0886259055872865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976031891419325</c:v>
                </c:pt>
                <c:pt idx="1">
                  <c:v>0.01898920513109154</c:v>
                </c:pt>
                <c:pt idx="2">
                  <c:v>0.019765906665055493</c:v>
                </c:pt>
                <c:pt idx="3">
                  <c:v>0.03648784553610459</c:v>
                </c:pt>
                <c:pt idx="4">
                  <c:v>0.05902412100721781</c:v>
                </c:pt>
                <c:pt idx="5">
                  <c:v>0.09500198144347392</c:v>
                </c:pt>
                <c:pt idx="6">
                  <c:v>0.12750449061991379</c:v>
                </c:pt>
                <c:pt idx="7">
                  <c:v>0.17091420993466167</c:v>
                </c:pt>
                <c:pt idx="8">
                  <c:v>0.23378218539026666</c:v>
                </c:pt>
                <c:pt idx="9">
                  <c:v>0.09115750752845632</c:v>
                </c:pt>
                <c:pt idx="10">
                  <c:v>0.0886259055872865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7080153388383626</c:v>
                </c:pt>
                <c:pt idx="4">
                  <c:v>0.003943904194868299</c:v>
                </c:pt>
                <c:pt idx="5">
                  <c:v>0.004162520737261609</c:v>
                </c:pt>
                <c:pt idx="6">
                  <c:v>0.002265301182406048</c:v>
                </c:pt>
                <c:pt idx="7">
                  <c:v>0.007071420527453632</c:v>
                </c:pt>
                <c:pt idx="8">
                  <c:v>0.001791609322872437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283103016412639</c:v>
                </c:pt>
                <c:pt idx="3">
                  <c:v>0.009688463985397173</c:v>
                </c:pt>
                <c:pt idx="4">
                  <c:v>0.010090999581794546</c:v>
                </c:pt>
                <c:pt idx="5">
                  <c:v>0.0038237710753739637</c:v>
                </c:pt>
                <c:pt idx="6">
                  <c:v>0.0007149763192069582</c:v>
                </c:pt>
                <c:pt idx="7">
                  <c:v>0.006383106287446588</c:v>
                </c:pt>
                <c:pt idx="8">
                  <c:v>0.00832007985581118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283103016412639</c:v>
                </c:pt>
                <c:pt idx="3">
                  <c:v>0.009688463985397173</c:v>
                </c:pt>
                <c:pt idx="4">
                  <c:v>0.010090999581794546</c:v>
                </c:pt>
                <c:pt idx="5">
                  <c:v>0.0038237710753739637</c:v>
                </c:pt>
                <c:pt idx="6">
                  <c:v>0.0007149763192069582</c:v>
                </c:pt>
                <c:pt idx="7">
                  <c:v>0.006383106287446588</c:v>
                </c:pt>
                <c:pt idx="8">
                  <c:v>0.00832007985581118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2915430566361968</c:v>
                </c:pt>
                <c:pt idx="1">
                  <c:v>0.025515726790348144</c:v>
                </c:pt>
                <c:pt idx="2">
                  <c:v>0.03199740978374033</c:v>
                </c:pt>
                <c:pt idx="3">
                  <c:v>0.0411103752403546</c:v>
                </c:pt>
                <c:pt idx="4">
                  <c:v>0.05793075164029115</c:v>
                </c:pt>
                <c:pt idx="5">
                  <c:v>0.11068370870934567</c:v>
                </c:pt>
                <c:pt idx="6">
                  <c:v>0.13434203264565014</c:v>
                </c:pt>
                <c:pt idx="7">
                  <c:v>0.17805870919511416</c:v>
                </c:pt>
                <c:pt idx="8">
                  <c:v>0.1872343763191081</c:v>
                </c:pt>
                <c:pt idx="9">
                  <c:v>0.136610462129647</c:v>
                </c:pt>
                <c:pt idx="10">
                  <c:v>0.02536890245908493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06981271760873598</c:v>
                </c:pt>
                <c:pt idx="4">
                  <c:v>0.007599096365085087</c:v>
                </c:pt>
                <c:pt idx="5">
                  <c:v>0.003592422073275713</c:v>
                </c:pt>
                <c:pt idx="6">
                  <c:v>0.0032777212980458176</c:v>
                </c:pt>
                <c:pt idx="7">
                  <c:v>0.004155694768489085</c:v>
                </c:pt>
                <c:pt idx="8">
                  <c:v>0.0018617436727184685</c:v>
                </c:pt>
                <c:pt idx="9">
                  <c:v>0.0014410703024494579</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031836619340219</c:v>
                </c:pt>
                <c:pt idx="2">
                  <c:v>0.001591815096428842</c:v>
                </c:pt>
                <c:pt idx="3">
                  <c:v>0.006435589675724803</c:v>
                </c:pt>
                <c:pt idx="4">
                  <c:v>0.0140854118527152</c:v>
                </c:pt>
                <c:pt idx="5">
                  <c:v>0.0036704796011847963</c:v>
                </c:pt>
                <c:pt idx="6">
                  <c:v>0.003448342923783125</c:v>
                </c:pt>
                <c:pt idx="7">
                  <c:v>0.0050893010632526514</c:v>
                </c:pt>
                <c:pt idx="8">
                  <c:v>0.00796461302849714</c:v>
                </c:pt>
                <c:pt idx="9">
                  <c:v>0.000682220563465201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2066226389675</c:v>
                </c:pt>
                <c:pt idx="1">
                  <c:v>0.011322501101184693</c:v>
                </c:pt>
                <c:pt idx="2">
                  <c:v>0.013914552193722339</c:v>
                </c:pt>
                <c:pt idx="3">
                  <c:v>0.09004346085649977</c:v>
                </c:pt>
                <c:pt idx="4">
                  <c:v>0.057044640694140274</c:v>
                </c:pt>
                <c:pt idx="5">
                  <c:v>0.12465870549148711</c:v>
                </c:pt>
                <c:pt idx="6">
                  <c:v>0.11514928294657306</c:v>
                </c:pt>
                <c:pt idx="7">
                  <c:v>0.1871274516940177</c:v>
                </c:pt>
                <c:pt idx="8">
                  <c:v>0.21430449882698097</c:v>
                </c:pt>
                <c:pt idx="9">
                  <c:v>0.10899183968071159</c:v>
                </c:pt>
                <c:pt idx="10">
                  <c:v>0.0638224042507857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02736253953385</c:v>
                </c:pt>
                <c:pt idx="1">
                  <c:v>0.011318994074405949</c:v>
                </c:pt>
                <c:pt idx="2">
                  <c:v>0.013460256505024365</c:v>
                </c:pt>
                <c:pt idx="3">
                  <c:v>0.06936521664391913</c:v>
                </c:pt>
                <c:pt idx="4">
                  <c:v>0.05116675523628414</c:v>
                </c:pt>
                <c:pt idx="5">
                  <c:v>0.11837496040208463</c:v>
                </c:pt>
                <c:pt idx="6">
                  <c:v>0.11426539819281499</c:v>
                </c:pt>
                <c:pt idx="7">
                  <c:v>0.17641086275812043</c:v>
                </c:pt>
                <c:pt idx="8">
                  <c:v>0.20271309129014373</c:v>
                </c:pt>
                <c:pt idx="9">
                  <c:v>0.10865829211834928</c:v>
                </c:pt>
                <c:pt idx="10">
                  <c:v>0.0638224042507857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2">
                  <c:v>0.0010202896374155589</c:v>
                </c:pt>
                <c:pt idx="3">
                  <c:v>0.008315817381319824</c:v>
                </c:pt>
                <c:pt idx="4">
                  <c:v>0.009528814340043575</c:v>
                </c:pt>
                <c:pt idx="6">
                  <c:v>0.0010506368196031462</c:v>
                </c:pt>
                <c:pt idx="7">
                  <c:v>0.010285284359285968</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20678244212580632</c:v>
                </c:pt>
                <c:pt idx="4">
                  <c:v>0.005859307987830031</c:v>
                </c:pt>
                <c:pt idx="5">
                  <c:v>0.006113105978397063</c:v>
                </c:pt>
                <c:pt idx="7">
                  <c:v>0.01001023248351958</c:v>
                </c:pt>
                <c:pt idx="8">
                  <c:v>0.01093921999033928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6704377507072772</c:v>
                </c:pt>
                <c:pt idx="1">
                  <c:v>0.019033626479877733</c:v>
                </c:pt>
                <c:pt idx="2">
                  <c:v>0.019827508280769842</c:v>
                </c:pt>
                <c:pt idx="3">
                  <c:v>0.046176309521501764</c:v>
                </c:pt>
                <c:pt idx="4">
                  <c:v>0.0691414471850965</c:v>
                </c:pt>
                <c:pt idx="5">
                  <c:v>0.0990885822044972</c:v>
                </c:pt>
                <c:pt idx="6">
                  <c:v>0.12890045057876498</c:v>
                </c:pt>
                <c:pt idx="7">
                  <c:v>0.17819960100478047</c:v>
                </c:pt>
                <c:pt idx="8">
                  <c:v>0.24263268612335281</c:v>
                </c:pt>
                <c:pt idx="9">
                  <c:v>0.09166950552699936</c:v>
                </c:pt>
                <c:pt idx="10">
                  <c:v>0.08862590558728656</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5976031891419325</c:v>
                </c:pt>
                <c:pt idx="1">
                  <c:v>0.01898920513109154</c:v>
                </c:pt>
                <c:pt idx="2">
                  <c:v>0.019765906665055493</c:v>
                </c:pt>
                <c:pt idx="3">
                  <c:v>0.03648784553610459</c:v>
                </c:pt>
                <c:pt idx="4">
                  <c:v>0.05902412100721781</c:v>
                </c:pt>
                <c:pt idx="5">
                  <c:v>0.09500198144347392</c:v>
                </c:pt>
                <c:pt idx="6">
                  <c:v>0.12750449061991379</c:v>
                </c:pt>
                <c:pt idx="7">
                  <c:v>0.17091420993466167</c:v>
                </c:pt>
                <c:pt idx="8">
                  <c:v>0.23378218539026666</c:v>
                </c:pt>
                <c:pt idx="9">
                  <c:v>0.09115750752845632</c:v>
                </c:pt>
                <c:pt idx="10">
                  <c:v>0.08862590558728656</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23477056941318963</c:v>
                </c:pt>
                <c:pt idx="7">
                  <c:v>0.0042781196847330675</c:v>
                </c:pt>
                <c:pt idx="8">
                  <c:v>0.007937525368933412</c:v>
                </c:pt>
                <c:pt idx="9">
                  <c:v>0.000783055113322963</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07283103016412639</c:v>
                </c:pt>
                <c:pt idx="3">
                  <c:v>0.009688463985397173</c:v>
                </c:pt>
                <c:pt idx="4">
                  <c:v>0.010090999581794546</c:v>
                </c:pt>
                <c:pt idx="5">
                  <c:v>0.0038237710753739637</c:v>
                </c:pt>
                <c:pt idx="6">
                  <c:v>0.0007149763192069582</c:v>
                </c:pt>
                <c:pt idx="7">
                  <c:v>0.006383106287446588</c:v>
                </c:pt>
                <c:pt idx="8">
                  <c:v>0.008320079855811182</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3545409845740383</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3947267185702188</c:v>
                </c:pt>
                <c:pt idx="1">
                  <c:v>0.0257121488353828</c:v>
                </c:pt>
                <c:pt idx="2">
                  <c:v>0.03358922488016917</c:v>
                </c:pt>
                <c:pt idx="3">
                  <c:v>0.047555465818613675</c:v>
                </c:pt>
                <c:pt idx="4">
                  <c:v>0.07216931461038154</c:v>
                </c:pt>
                <c:pt idx="5">
                  <c:v>0.11538975237199361</c:v>
                </c:pt>
                <c:pt idx="6">
                  <c:v>0.13910064653920554</c:v>
                </c:pt>
                <c:pt idx="7">
                  <c:v>0.18415888055193388</c:v>
                </c:pt>
                <c:pt idx="8">
                  <c:v>0.19567579739573698</c:v>
                </c:pt>
                <c:pt idx="9">
                  <c:v>0.13733259935179568</c:v>
                </c:pt>
                <c:pt idx="10">
                  <c:v>0.02536890245908493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22915430566361968</c:v>
                </c:pt>
                <c:pt idx="1">
                  <c:v>0.025515726790348144</c:v>
                </c:pt>
                <c:pt idx="2">
                  <c:v>0.03199740978374033</c:v>
                </c:pt>
                <c:pt idx="3">
                  <c:v>0.0411103752403546</c:v>
                </c:pt>
                <c:pt idx="4">
                  <c:v>0.05793075164029115</c:v>
                </c:pt>
                <c:pt idx="5">
                  <c:v>0.11068370870934567</c:v>
                </c:pt>
                <c:pt idx="6">
                  <c:v>0.13434203264565014</c:v>
                </c:pt>
                <c:pt idx="7">
                  <c:v>0.17805870919511416</c:v>
                </c:pt>
                <c:pt idx="8">
                  <c:v>0.1872343763191081</c:v>
                </c:pt>
                <c:pt idx="9">
                  <c:v>0.136610462129647</c:v>
                </c:pt>
                <c:pt idx="10">
                  <c:v>0.02536890245908493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6">
                  <c:v>0.0021529431183839134</c:v>
                </c:pt>
                <c:pt idx="7">
                  <c:v>0.006460184788650986</c:v>
                </c:pt>
                <c:pt idx="8">
                  <c:v>0.008492447142790363</c:v>
                </c:pt>
                <c:pt idx="9">
                  <c:v>0.001088078530865876</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01031836619340219</c:v>
                </c:pt>
                <c:pt idx="2">
                  <c:v>0.001591815096428842</c:v>
                </c:pt>
                <c:pt idx="3">
                  <c:v>0.006435589675724803</c:v>
                </c:pt>
                <c:pt idx="4">
                  <c:v>0.0140854118527152</c:v>
                </c:pt>
                <c:pt idx="5">
                  <c:v>0.0036704796011847963</c:v>
                </c:pt>
                <c:pt idx="6">
                  <c:v>0.003448342923783125</c:v>
                </c:pt>
                <c:pt idx="7">
                  <c:v>0.0050893010632526514</c:v>
                </c:pt>
                <c:pt idx="8">
                  <c:v>0.00796461302849714</c:v>
                </c:pt>
                <c:pt idx="9">
                  <c:v>0.000682220563465201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33986293976557332</c:v>
                </c:pt>
                <c:pt idx="6">
                  <c:v>0.0009364801569296885</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108876626824614"/>
          <c:h val="1"/>
        </c:manualLayout>
      </c:layout>
      <c:barChart>
        <c:barDir val="bar"/>
        <c:grouping val="clustered"/>
        <c:varyColors val="0"/>
        <c:ser>
          <c:idx val="2"/>
          <c:order val="0"/>
          <c:tx>
            <c:strRef>
              <c:f>Sheet1!$B$1</c:f>
              <c:strCache>
                <c:ptCount val="1"/>
                <c:pt idx="0">
                  <c:v>Total Fromag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090-4E17-9290-A5A26918F063}"/>
              </c:ext>
            </c:extLst>
          </c:dPt>
          <c:dPt>
            <c:idx val="14"/>
            <c:invertIfNegative val="0"/>
            <c:bubble3D val="0"/>
            <c:extLst>
              <c:ext xmlns:c16="http://schemas.microsoft.com/office/drawing/2014/chart" uri="{C3380CC4-5D6E-409C-BE32-E72D297353CC}">
                <c16:uniqueId val="{00000001-4090-4E17-9290-A5A26918F063}"/>
              </c:ext>
            </c:extLst>
          </c:dPt>
          <c:dPt>
            <c:idx val="15"/>
            <c:invertIfNegative val="0"/>
            <c:bubble3D val="0"/>
            <c:extLst>
              <c:ext xmlns:c16="http://schemas.microsoft.com/office/drawing/2014/chart" uri="{C3380CC4-5D6E-409C-BE32-E72D297353CC}">
                <c16:uniqueId val="{00000002-4090-4E17-9290-A5A26918F06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2066226389675</c:v>
                </c:pt>
                <c:pt idx="1">
                  <c:v>0.011322501101184693</c:v>
                </c:pt>
                <c:pt idx="2">
                  <c:v>0.013914552193722339</c:v>
                </c:pt>
                <c:pt idx="3">
                  <c:v>0.09004346085649977</c:v>
                </c:pt>
                <c:pt idx="4">
                  <c:v>0.057044640694140274</c:v>
                </c:pt>
                <c:pt idx="5">
                  <c:v>0.12465870549148711</c:v>
                </c:pt>
                <c:pt idx="6">
                  <c:v>0.11514928294657306</c:v>
                </c:pt>
                <c:pt idx="7">
                  <c:v>0.1871274516940177</c:v>
                </c:pt>
                <c:pt idx="8">
                  <c:v>0.21430449882698097</c:v>
                </c:pt>
                <c:pt idx="9">
                  <c:v>0.10899183968071159</c:v>
                </c:pt>
                <c:pt idx="10">
                  <c:v>0.06382240425078572</c:v>
                </c:pt>
              </c:numCache>
            </c:numRef>
          </c:val>
          <c:extLst>
            <c:ext xmlns:c16="http://schemas.microsoft.com/office/drawing/2014/chart" uri="{C3380CC4-5D6E-409C-BE32-E72D297353CC}">
              <c16:uniqueId val="{00000003-4090-4E17-9290-A5A26918F06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E6E3-4AB9-A012-FCFDD5EBF9B3}"/>
              </c:ext>
            </c:extLst>
          </c:dPt>
          <c:dPt>
            <c:idx val="14"/>
            <c:invertIfNegative val="0"/>
            <c:bubble3D val="0"/>
            <c:extLst>
              <c:ext xmlns:c16="http://schemas.microsoft.com/office/drawing/2014/chart" uri="{C3380CC4-5D6E-409C-BE32-E72D297353CC}">
                <c16:uniqueId val="{00000001-E6E3-4AB9-A012-FCFDD5EBF9B3}"/>
              </c:ext>
            </c:extLst>
          </c:dPt>
          <c:dPt>
            <c:idx val="15"/>
            <c:invertIfNegative val="0"/>
            <c:bubble3D val="0"/>
            <c:extLst>
              <c:ext xmlns:c16="http://schemas.microsoft.com/office/drawing/2014/chart" uri="{C3380CC4-5D6E-409C-BE32-E72D297353CC}">
                <c16:uniqueId val="{00000002-E6E3-4AB9-A012-FCFDD5EBF9B3}"/>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0">
                  <c:v>0.013602736253953385</c:v>
                </c:pt>
                <c:pt idx="1">
                  <c:v>0.011318994074405949</c:v>
                </c:pt>
                <c:pt idx="2">
                  <c:v>0.013460256505024365</c:v>
                </c:pt>
                <c:pt idx="3">
                  <c:v>0.06936521664391913</c:v>
                </c:pt>
                <c:pt idx="4">
                  <c:v>0.05116675523628414</c:v>
                </c:pt>
                <c:pt idx="5">
                  <c:v>0.11837496040208463</c:v>
                </c:pt>
                <c:pt idx="6">
                  <c:v>0.11426539819281499</c:v>
                </c:pt>
                <c:pt idx="7">
                  <c:v>0.17641086275812043</c:v>
                </c:pt>
                <c:pt idx="8">
                  <c:v>0.20271309129014373</c:v>
                </c:pt>
                <c:pt idx="9">
                  <c:v>0.10865829211834928</c:v>
                </c:pt>
                <c:pt idx="10">
                  <c:v>0.06382240425078572</c:v>
                </c:pt>
              </c:numCache>
            </c:numRef>
          </c:val>
          <c:extLst>
            <c:ext xmlns:c16="http://schemas.microsoft.com/office/drawing/2014/chart" uri="{C3380CC4-5D6E-409C-BE32-E72D297353CC}">
              <c16:uniqueId val="{00000005-E6E3-4AB9-A012-FCFDD5EBF9B3}"/>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Soft Cheese</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658-4A60-A99C-4F7EA000EF8E}"/>
              </c:ext>
            </c:extLst>
          </c:dPt>
          <c:dPt>
            <c:idx val="14"/>
            <c:invertIfNegative val="0"/>
            <c:bubble3D val="0"/>
            <c:extLst>
              <c:ext xmlns:c16="http://schemas.microsoft.com/office/drawing/2014/chart" uri="{C3380CC4-5D6E-409C-BE32-E72D297353CC}">
                <c16:uniqueId val="{00000001-C658-4A60-A99C-4F7EA000EF8E}"/>
              </c:ext>
            </c:extLst>
          </c:dPt>
          <c:dPt>
            <c:idx val="15"/>
            <c:invertIfNegative val="0"/>
            <c:bubble3D val="0"/>
            <c:extLst>
              <c:ext xmlns:c16="http://schemas.microsoft.com/office/drawing/2014/chart" uri="{C3380CC4-5D6E-409C-BE32-E72D297353CC}">
                <c16:uniqueId val="{00000002-C658-4A60-A99C-4F7EA000EF8E}"/>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4139914820291262</c:v>
                </c:pt>
                <c:pt idx="6">
                  <c:v>0.0006799668901927549</c:v>
                </c:pt>
                <c:pt idx="7">
                  <c:v>0.003551266347196433</c:v>
                </c:pt>
                <c:pt idx="8">
                  <c:v>0.013280811825233933</c:v>
                </c:pt>
                <c:pt idx="9">
                  <c:v>0.0013178603167086221</c:v>
                </c:pt>
              </c:numCache>
            </c:numRef>
          </c:val>
          <c:extLst>
            <c:ext xmlns:c16="http://schemas.microsoft.com/office/drawing/2014/chart" uri="{C3380CC4-5D6E-409C-BE32-E72D297353CC}">
              <c16:uniqueId val="{00000005-C658-4A60-A99C-4F7EA000EF8E}"/>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3342-4F23-A6C1-C4519D871796}"/>
              </c:ext>
            </c:extLst>
          </c:dPt>
          <c:dPt>
            <c:idx val="14"/>
            <c:invertIfNegative val="0"/>
            <c:bubble3D val="0"/>
            <c:extLst>
              <c:ext xmlns:c16="http://schemas.microsoft.com/office/drawing/2014/chart" uri="{C3380CC4-5D6E-409C-BE32-E72D297353CC}">
                <c16:uniqueId val="{00000001-3342-4F23-A6C1-C4519D871796}"/>
              </c:ext>
            </c:extLst>
          </c:dPt>
          <c:dPt>
            <c:idx val="15"/>
            <c:invertIfNegative val="0"/>
            <c:bubble3D val="0"/>
            <c:extLst>
              <c:ext xmlns:c16="http://schemas.microsoft.com/office/drawing/2014/chart" uri="{C3380CC4-5D6E-409C-BE32-E72D297353CC}">
                <c16:uniqueId val="{00000002-3342-4F23-A6C1-C4519D87179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3">
                  <c:v>0.020678244212580632</c:v>
                </c:pt>
                <c:pt idx="4">
                  <c:v>0.005859307987830031</c:v>
                </c:pt>
                <c:pt idx="5">
                  <c:v>0.006113105978397063</c:v>
                </c:pt>
                <c:pt idx="7">
                  <c:v>0.01001023248351958</c:v>
                </c:pt>
                <c:pt idx="8">
                  <c:v>0.010939219990339281</c:v>
                </c:pt>
              </c:numCache>
            </c:numRef>
          </c:val>
          <c:extLst>
            <c:ext xmlns:c16="http://schemas.microsoft.com/office/drawing/2014/chart" uri="{C3380CC4-5D6E-409C-BE32-E72D297353CC}">
              <c16:uniqueId val="{00000005-3342-4F23-A6C1-C4519D87179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Aperitif</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2D1D-4EA2-9470-072E92F5B0A6}"/>
              </c:ext>
            </c:extLst>
          </c:dPt>
          <c:dPt>
            <c:idx val="14"/>
            <c:invertIfNegative val="0"/>
            <c:bubble3D val="0"/>
            <c:extLst>
              <c:ext xmlns:c16="http://schemas.microsoft.com/office/drawing/2014/chart" uri="{C3380CC4-5D6E-409C-BE32-E72D297353CC}">
                <c16:uniqueId val="{00000001-2D1D-4EA2-9470-072E92F5B0A6}"/>
              </c:ext>
            </c:extLst>
          </c:dPt>
          <c:dPt>
            <c:idx val="15"/>
            <c:invertIfNegative val="0"/>
            <c:bubble3D val="0"/>
            <c:extLst>
              <c:ext xmlns:c16="http://schemas.microsoft.com/office/drawing/2014/chart" uri="{C3380CC4-5D6E-409C-BE32-E72D297353CC}">
                <c16:uniqueId val="{00000002-2D1D-4EA2-9470-072E92F5B0A6}"/>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pt idx="5">
                  <c:v>0.006113105978397063</c:v>
                </c:pt>
              </c:numCache>
            </c:numRef>
          </c:val>
          <c:extLst>
            <c:ext xmlns:c16="http://schemas.microsoft.com/office/drawing/2014/chart" uri="{C3380CC4-5D6E-409C-BE32-E72D297353CC}">
              <c16:uniqueId val="{00000005-2D1D-4EA2-9470-072E92F5B0A6}"/>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89B5-49B1-8FFD-2A151524B551}"/>
              </c:ext>
            </c:extLst>
          </c:dPt>
          <c:dPt>
            <c:idx val="14"/>
            <c:invertIfNegative val="0"/>
            <c:bubble3D val="0"/>
            <c:extLst>
              <c:ext xmlns:c16="http://schemas.microsoft.com/office/drawing/2014/chart" uri="{C3380CC4-5D6E-409C-BE32-E72D297353CC}">
                <c16:uniqueId val="{00000001-89B5-49B1-8FFD-2A151524B551}"/>
              </c:ext>
            </c:extLst>
          </c:dPt>
          <c:dPt>
            <c:idx val="15"/>
            <c:invertIfNegative val="0"/>
            <c:bubble3D val="0"/>
            <c:extLst>
              <c:ext xmlns:c16="http://schemas.microsoft.com/office/drawing/2014/chart" uri="{C3380CC4-5D6E-409C-BE32-E72D297353CC}">
                <c16:uniqueId val="{00000002-89B5-49B1-8FFD-2A151524B551}"/>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89B5-49B1-8FFD-2A151524B551}"/>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0"/>
        <c:axPos val="r"/>
        <c:numFmt formatCode="General" sourceLinked="1"/>
        <c:majorTickMark val="out"/>
        <c:minorTickMark val="none"/>
        <c:tickLblPos val="none"/>
        <c:spPr>
          <a:ln>
            <a:noFill/>
          </a:ln>
        </c:spPr>
        <c:crossAx val="283319136"/>
        <c:crosses val="autoZero"/>
        <c:auto val="1"/>
        <c:lblAlgn val="ctr"/>
        <c:lblOffset val="100"/>
        <c:noMultiLvlLbl val="0"/>
      </c:catAx>
      <c:valAx>
        <c:axId val="283319136"/>
        <c:scaling>
          <c:orientation val="maxMin"/>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Ingredient A Chaud</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7552-4B7C-9479-E26C13836C92}"/>
              </c:ext>
            </c:extLst>
          </c:dPt>
          <c:dPt>
            <c:idx val="14"/>
            <c:invertIfNegative val="0"/>
            <c:bubble3D val="0"/>
            <c:extLst>
              <c:ext xmlns:c16="http://schemas.microsoft.com/office/drawing/2014/chart" uri="{C3380CC4-5D6E-409C-BE32-E72D297353CC}">
                <c16:uniqueId val="{00000001-7552-4B7C-9479-E26C13836C92}"/>
              </c:ext>
            </c:extLst>
          </c:dPt>
          <c:dPt>
            <c:idx val="15"/>
            <c:invertIfNegative val="0"/>
            <c:bubble3D val="0"/>
            <c:extLst>
              <c:ext xmlns:c16="http://schemas.microsoft.com/office/drawing/2014/chart" uri="{C3380CC4-5D6E-409C-BE32-E72D297353CC}">
                <c16:uniqueId val="{00000002-7552-4B7C-9479-E26C13836C92}"/>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2</c:f>
              <c:strCache>
                <c:ptCount val="1"/>
                <c:pt idx="0">
                  <c:v/>
                </c:pt>
              </c:strCache>
            </c:strRef>
          </c:cat>
          <c:val>
            <c:numRef>
              <c:f>Sheet1!$B$2:$B$12</c:f>
              <c:numCache>
                <c:formatCode>General</c:formatCode>
                <c:ptCount val="11"/>
              </c:numCache>
            </c:numRef>
          </c:val>
          <c:extLst>
            <c:ext xmlns:c16="http://schemas.microsoft.com/office/drawing/2014/chart" uri="{C3380CC4-5D6E-409C-BE32-E72D297353CC}">
              <c16:uniqueId val="{00000005-7552-4B7C-9479-E26C13836C92}"/>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max val="0.3"/>
          <c:min val="0.0"/>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A2EC-49A1-A3AC-1FF19B73EC98}"/>
              </c:ext>
            </c:extLst>
          </c:dPt>
          <c:dPt>
            <c:idx val="14"/>
            <c:invertIfNegative val="0"/>
            <c:bubble3D val="0"/>
            <c:extLst>
              <c:ext xmlns:c16="http://schemas.microsoft.com/office/drawing/2014/chart" uri="{C3380CC4-5D6E-409C-BE32-E72D297353CC}">
                <c16:uniqueId val="{00000001-A2EC-49A1-A3AC-1FF19B73EC98}"/>
              </c:ext>
            </c:extLst>
          </c:dPt>
          <c:dPt>
            <c:idx val="15"/>
            <c:invertIfNegative val="0"/>
            <c:bubble3D val="0"/>
            <c:extLst>
              <c:ext xmlns:c16="http://schemas.microsoft.com/office/drawing/2014/chart" uri="{C3380CC4-5D6E-409C-BE32-E72D297353CC}">
                <c16:uniqueId val="{00000002-A2EC-49A1-A3AC-1FF19B73EC98}"/>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
                  <c:v>0.104</c:v>
                </c:pt>
                <c:pt idx="6" formatCode="0.0%">
                  <c:v>0.124</c:v>
                </c:pt>
              </c:numCache>
            </c:numRef>
          </c:val>
          <c:extLst>
            <c:ext xmlns:c16="http://schemas.microsoft.com/office/drawing/2014/chart" uri="{C3380CC4-5D6E-409C-BE32-E72D297353CC}">
              <c16:uniqueId val="{00000005-A2EC-49A1-A3AC-1FF19B73EC98}"/>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one"/>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CC3D-461F-BD06-452D2CA23A8C}"/>
              </c:ext>
            </c:extLst>
          </c:dPt>
          <c:dPt>
            <c:idx val="14"/>
            <c:invertIfNegative val="0"/>
            <c:bubble3D val="0"/>
            <c:extLst>
              <c:ext xmlns:c16="http://schemas.microsoft.com/office/drawing/2014/chart" uri="{C3380CC4-5D6E-409C-BE32-E72D297353CC}">
                <c16:uniqueId val="{00000001-CC3D-461F-BD06-452D2CA23A8C}"/>
              </c:ext>
            </c:extLst>
          </c:dPt>
          <c:dPt>
            <c:idx val="15"/>
            <c:invertIfNegative val="0"/>
            <c:bubble3D val="0"/>
            <c:extLst>
              <c:ext xmlns:c16="http://schemas.microsoft.com/office/drawing/2014/chart" uri="{C3380CC4-5D6E-409C-BE32-E72D297353CC}">
                <c16:uniqueId val="{00000002-CC3D-461F-BD06-452D2CA23A8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3" formatCode="0.0%;\-0.0%;0.0%">
                  <c:v>5.5E-2</c:v>
                </c:pt>
                <c:pt idx="6" formatCode="0.0%;\-0.0%;0.0%">
                  <c:v>0.10199999999999999</c:v>
                </c:pt>
              </c:numCache>
            </c:numRef>
          </c:val>
          <c:extLst>
            <c:ext xmlns:c16="http://schemas.microsoft.com/office/drawing/2014/chart" uri="{C3380CC4-5D6E-409C-BE32-E72D297353CC}">
              <c16:uniqueId val="{00000005-CC3D-461F-BD06-452D2CA23A8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403217592592592"/>
          <c:h val="1"/>
        </c:manualLayout>
      </c:layout>
      <c:barChart>
        <c:barDir val="bar"/>
        <c:grouping val="clustered"/>
        <c:varyColors val="0"/>
        <c:ser>
          <c:idx val="2"/>
          <c:order val="0"/>
          <c:tx>
            <c:strRef>
              <c:f>Sheet1!$B$1</c:f>
              <c:strCache>
                <c:ptCount val="1"/>
                <c:pt idx="0">
                  <c:v>Total</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4EF3-4A4C-B33E-94EFE3C2F04C}"/>
              </c:ext>
            </c:extLst>
          </c:dPt>
          <c:dPt>
            <c:idx val="14"/>
            <c:invertIfNegative val="0"/>
            <c:bubble3D val="0"/>
            <c:extLst>
              <c:ext xmlns:c16="http://schemas.microsoft.com/office/drawing/2014/chart" uri="{C3380CC4-5D6E-409C-BE32-E72D297353CC}">
                <c16:uniqueId val="{00000001-4EF3-4A4C-B33E-94EFE3C2F04C}"/>
              </c:ext>
            </c:extLst>
          </c:dPt>
          <c:dPt>
            <c:idx val="15"/>
            <c:invertIfNegative val="0"/>
            <c:bubble3D val="0"/>
            <c:extLst>
              <c:ext xmlns:c16="http://schemas.microsoft.com/office/drawing/2014/chart" uri="{C3380CC4-5D6E-409C-BE32-E72D297353CC}">
                <c16:uniqueId val="{00000002-4EF3-4A4C-B33E-94EFE3C2F04C}"/>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
                  <c:v>9.0999999999999998E-2</c:v>
                </c:pt>
              </c:numCache>
            </c:numRef>
          </c:val>
          <c:extLst>
            <c:ext xmlns:c16="http://schemas.microsoft.com/office/drawing/2014/chart" uri="{C3380CC4-5D6E-409C-BE32-E72D297353CC}">
              <c16:uniqueId val="{00000005-4EF3-4A4C-B33E-94EFE3C2F04C}"/>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r"/>
        <c:numFmt formatCode="General" sourceLinked="1"/>
        <c:majorTickMark val="out"/>
        <c:minorTickMark val="none"/>
        <c:tickLblPos val="nextTo"/>
        <c:crossAx val="283319136"/>
        <c:crosses val="autoZero"/>
        <c:auto val="1"/>
        <c:lblAlgn val="ctr"/>
        <c:lblOffset val="100"/>
        <c:noMultiLvlLbl val="0"/>
      </c:catAx>
      <c:valAx>
        <c:axId val="283319136"/>
        <c:scaling>
          <c:orientation val="maxMin"/>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1"/>
        </c:manualLayout>
      </c:layout>
      <c:barChart>
        <c:barDir val="bar"/>
        <c:grouping val="clustered"/>
        <c:varyColors val="0"/>
        <c:ser>
          <c:idx val="2"/>
          <c:order val="0"/>
          <c:tx>
            <c:strRef>
              <c:f>Sheet1!$B$1</c:f>
              <c:strCache>
                <c:ptCount val="1"/>
                <c:pt idx="0">
                  <c:v>Mainstream</c:v>
                </c:pt>
              </c:strCache>
            </c:strRef>
          </c:tx>
          <c:spPr>
            <a:solidFill>
              <a:srgbClr val="E6E5E5"/>
            </a:solidFill>
            <a:ln w="9525" cap="flat" cmpd="sng" algn="ctr">
              <a:noFill/>
              <a:round/>
            </a:ln>
            <a:effectLst/>
          </c:spPr>
          <c:invertIfNegative val="0"/>
          <c:dPt>
            <c:idx val="13"/>
            <c:invertIfNegative val="0"/>
            <c:bubble3D val="0"/>
            <c:extLst>
              <c:ext xmlns:c16="http://schemas.microsoft.com/office/drawing/2014/chart" uri="{C3380CC4-5D6E-409C-BE32-E72D297353CC}">
                <c16:uniqueId val="{00000000-066D-4A78-8CA8-AA03E9034A39}"/>
              </c:ext>
            </c:extLst>
          </c:dPt>
          <c:dPt>
            <c:idx val="14"/>
            <c:invertIfNegative val="0"/>
            <c:bubble3D val="0"/>
            <c:extLst>
              <c:ext xmlns:c16="http://schemas.microsoft.com/office/drawing/2014/chart" uri="{C3380CC4-5D6E-409C-BE32-E72D297353CC}">
                <c16:uniqueId val="{00000001-066D-4A78-8CA8-AA03E9034A39}"/>
              </c:ext>
            </c:extLst>
          </c:dPt>
          <c:dPt>
            <c:idx val="15"/>
            <c:invertIfNegative val="0"/>
            <c:bubble3D val="0"/>
            <c:extLst>
              <c:ext xmlns:c16="http://schemas.microsoft.com/office/drawing/2014/chart" uri="{C3380CC4-5D6E-409C-BE32-E72D297353CC}">
                <c16:uniqueId val="{00000002-066D-4A78-8CA8-AA03E9034A39}"/>
              </c:ext>
            </c:extLst>
          </c:dPt>
          <c:dLbls>
            <c:numFmt formatCode="0.0%" sourceLinked="0"/>
            <c:spPr>
              <a:noFill/>
              <a:ln>
                <a:noFill/>
              </a:ln>
              <a:effectLst/>
            </c:spPr>
            <c:txPr>
              <a:bodyPr wrap="none" lIns="38100" tIns="19050" rIns="38100" bIns="19050" anchor="ctr">
                <a:spAutoFit/>
              </a:bodyPr>
              <a:lstStyle/>
              <a:p>
                <a:pPr>
                  <a:defRPr sz="700">
                    <a:solidFill>
                      <a:schemeClr val="tx2"/>
                    </a:solidFill>
                  </a:defRPr>
                </a:pPr>
                <a:endParaRPr lang="en-CH"/>
              </a:p>
            </c:txPr>
            <c:dLblPos val="inBase"/>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a:solidFill>
                        <a:schemeClr val="dk1">
                          <a:lumMod val="50000"/>
                          <a:lumOff val="50000"/>
                        </a:schemeClr>
                      </a:solidFill>
                    </a:ln>
                    <a:effectLst/>
                  </c:spPr>
                </c15:leaderLines>
              </c:ext>
            </c:extLst>
          </c:dLbls>
          <c:cat>
            <c:strRef>
              <c:f>Sheet1!$A$2:$A$11</c:f>
              <c:strCache>
                <c:ptCount val="10"/>
                <c:pt idx="0">
                  <c:v>2000+ ML</c:v>
                </c:pt>
                <c:pt idx="1">
                  <c:v>1400-1600 ML</c:v>
                </c:pt>
                <c:pt idx="2">
                  <c:v>1200-1400 ML</c:v>
                </c:pt>
                <c:pt idx="3">
                  <c:v>1000-1200 ML</c:v>
                </c:pt>
                <c:pt idx="4">
                  <c:v>700-800 ML</c:v>
                </c:pt>
                <c:pt idx="5">
                  <c:v>600-700 ML</c:v>
                </c:pt>
                <c:pt idx="6">
                  <c:v>500-600 ML</c:v>
                </c:pt>
                <c:pt idx="7">
                  <c:v>400-500 ML</c:v>
                </c:pt>
                <c:pt idx="8">
                  <c:v>300-400 ML</c:v>
                </c:pt>
                <c:pt idx="9">
                  <c:v>0-300 ML</c:v>
                </c:pt>
              </c:strCache>
            </c:strRef>
          </c:cat>
          <c:val>
            <c:numRef>
              <c:f>Sheet1!$B$2:$B$11</c:f>
              <c:numCache>
                <c:formatCode>General</c:formatCode>
                <c:ptCount val="10"/>
                <c:pt idx="6" formatCode="0.0%;\-0.0%;0.0%">
                  <c:v>6.0000000000000001E-3</c:v>
                </c:pt>
              </c:numCache>
            </c:numRef>
          </c:val>
          <c:extLst>
            <c:ext xmlns:c16="http://schemas.microsoft.com/office/drawing/2014/chart" uri="{C3380CC4-5D6E-409C-BE32-E72D297353CC}">
              <c16:uniqueId val="{00000005-066D-4A78-8CA8-AA03E9034A39}"/>
            </c:ext>
          </c:extLst>
        </c:ser>
        <c:dLbls>
          <c:dLblPos val="inBase"/>
          <c:showLegendKey val="0"/>
          <c:showVal val="1"/>
          <c:showCatName val="0"/>
          <c:showSerName val="0"/>
          <c:showPercent val="0"/>
          <c:showBubbleSize val="0"/>
        </c:dLbls>
        <c:gapWidth val="10"/>
        <c:axId val="283312864"/>
        <c:axId val="283319136"/>
      </c:barChart>
      <c:catAx>
        <c:axId val="283312864"/>
        <c:scaling>
          <c:orientation val="maxMin"/>
        </c:scaling>
        <c:delete val="1"/>
        <c:axPos val="l"/>
        <c:numFmt formatCode="General" sourceLinked="1"/>
        <c:majorTickMark val="out"/>
        <c:minorTickMark val="none"/>
        <c:tickLblPos val="nextTo"/>
        <c:crossAx val="283319136"/>
        <c:crosses val="autoZero"/>
        <c:auto val="1"/>
        <c:lblAlgn val="ctr"/>
        <c:lblOffset val="100"/>
        <c:noMultiLvlLbl val="0"/>
      </c:catAx>
      <c:valAx>
        <c:axId val="283319136"/>
        <c:scaling>
          <c:orientation val="minMax"/>
        </c:scaling>
        <c:delete val="1"/>
        <c:axPos val="t"/>
        <c:numFmt formatCode="0%" sourceLinked="0"/>
        <c:majorTickMark val="out"/>
        <c:minorTickMark val="none"/>
        <c:tickLblPos val="nextTo"/>
        <c:crossAx val="283312864"/>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b="0" i="0">
          <a:solidFill>
            <a:schemeClr val="accent1"/>
          </a:solidFill>
          <a:latin typeface="+mn-lt"/>
        </a:defRPr>
      </a:pPr>
      <a:endParaRPr lang="en-CH"/>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72FB53-A71A-4C0E-9583-1C878767219E}" type="datetimeFigureOut">
              <a:rPr lang="en-AE" smtClean="0"/>
              <a:t>14/09/2025</a:t>
            </a:fld>
            <a:endParaRPr lang="en-A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0FCEFF-CD3C-4786-A618-EEEB1573EC82}" type="slidenum">
              <a:rPr lang="en-AE" smtClean="0"/>
              <a:t>‹#›</a:t>
            </a:fld>
            <a:endParaRPr lang="en-AE"/>
          </a:p>
        </p:txBody>
      </p:sp>
    </p:spTree>
    <p:extLst>
      <p:ext uri="{BB962C8B-B14F-4D97-AF65-F5344CB8AC3E}">
        <p14:creationId xmlns:p14="http://schemas.microsoft.com/office/powerpoint/2010/main" val="3661008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7FF46-7F2D-8A7D-ADCC-D9F0B0C81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801129-BA19-6312-802A-36E453F3E371}"/>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F28089F-52EF-3D95-5ACE-64F75B2241D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6F79116-66C2-7524-DB13-F9895BF6E64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E16E6-1DE9-413F-AA9F-05985E570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805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 Id="rId3" Type="http://schemas.openxmlformats.org/officeDocument/2006/relationships/oleObject" Target="../embeddings/oleObject2.bin"/><Relationship Id="rId4" Type="http://schemas.openxmlformats.org/officeDocument/2006/relationships/image" Target="../media/image2.emf"/><Relationship Id="rId5"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oleObject" Target="../embeddings/oleObject11.bin"/><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oleObject" Target="../embeddings/oleObject12.bin"/><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oleObject" Target="../embeddings/oleObject13.bin"/><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oleObject" Target="../embeddings/oleObject14.bin"/><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oleObject" Target="../embeddings/oleObject15.bin"/><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oleObject" Target="../embeddings/oleObject16.bin"/><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oleObject" Target="../embeddings/oleObject17.bin"/><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oleObject" Target="../embeddings/oleObject18.bin"/><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oleObject" Target="../embeddings/oleObject19.bin"/><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 Id="rId3" Type="http://schemas.openxmlformats.org/officeDocument/2006/relationships/oleObject" Target="../embeddings/oleObject20.bin"/><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oleObject" Target="../embeddings/oleObject3.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 Id="rId3" Type="http://schemas.openxmlformats.org/officeDocument/2006/relationships/oleObject" Target="../embeddings/oleObject21.bin"/><Relationship Id="rId4" Type="http://schemas.openxmlformats.org/officeDocument/2006/relationships/image" Target="../media/image22.emf"/></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 Id="rId3" Type="http://schemas.openxmlformats.org/officeDocument/2006/relationships/oleObject" Target="../embeddings/oleObject22.bin"/><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 Id="rId3" Type="http://schemas.openxmlformats.org/officeDocument/2006/relationships/oleObject" Target="../embeddings/oleObject23.bin"/><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 Id="rId3" Type="http://schemas.openxmlformats.org/officeDocument/2006/relationships/oleObject" Target="../embeddings/oleObject24.bin"/><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tags" Target="../tags/tag26.xml"/><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25.bin"/><Relationship Id="rId6" Type="http://schemas.openxmlformats.org/officeDocument/2006/relationships/image" Target="../media/image26.emf"/><Relationship Id="rId7" Type="http://schemas.openxmlformats.org/officeDocument/2006/relationships/image" Target="../media/image27.png"/><Relationship Id="rId8"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 Id="rId3" Type="http://schemas.openxmlformats.org/officeDocument/2006/relationships/oleObject" Target="../embeddings/oleObject4.bin"/><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 Id="rId3" Type="http://schemas.openxmlformats.org/officeDocument/2006/relationships/oleObject" Target="../embeddings/oleObject5.bin"/><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 Id="rId3"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oleObject" Target="../embeddings/oleObject7.bin"/><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oleObject" Target="../embeddings/oleObject8.bin"/><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oleObject" Target="../embeddings/oleObject9.bin"/><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oleObject" Target="../embeddings/oleObject10.bin"/><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8671D452-B359-E414-D7C9-76852782394C}"/>
              </a:ext>
            </a:extLst>
          </p:cNvPr>
          <p:cNvGraphicFramePr>
            <a:graphicFrameLocks noChangeAspect="1"/>
          </p:cNvGraphicFramePr>
          <p:nvPr>
            <p:custDataLst>
              <p:tags r:id="rId1"/>
            </p:custDataLst>
            <p:extLst>
              <p:ext uri="{D42A27DB-BD31-4B8C-83A1-F6EECF244321}">
                <p14:modId xmlns:p14="http://schemas.microsoft.com/office/powerpoint/2010/main" val="27537294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a:extLst>
                          <a:ext uri="{FF2B5EF4-FFF2-40B4-BE49-F238E27FC236}">
                            <a16:creationId xmlns:a16="http://schemas.microsoft.com/office/drawing/2014/main" id="{8671D452-B359-E414-D7C9-76852782394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93926C54-6046-54DA-B0AE-63C2A1509595}"/>
              </a:ext>
            </a:extLst>
          </p:cNvPr>
          <p:cNvSpPr>
            <a:spLocks noGrp="1"/>
          </p:cNvSpPr>
          <p:nvPr>
            <p:ph type="ftr" sz="quarter" idx="11"/>
          </p:nvPr>
        </p:nvSpPr>
        <p:spPr>
          <a:xfrm>
            <a:off x="824445" y="4972050"/>
            <a:ext cx="4025757" cy="174915"/>
          </a:xfrm>
        </p:spPr>
        <p:txBody>
          <a:bodyPr/>
          <a:lstStyle>
            <a:lvl1pPr>
              <a:defRPr/>
            </a:lvl1pPr>
          </a:lstStyle>
          <a:p>
            <a:endParaRPr lang="en-US"/>
          </a:p>
        </p:txBody>
      </p:sp>
      <p:pic>
        <p:nvPicPr>
          <p:cNvPr id="8" name="Picture 7">
            <a:extLst>
              <a:ext uri="{FF2B5EF4-FFF2-40B4-BE49-F238E27FC236}">
                <a16:creationId xmlns:a16="http://schemas.microsoft.com/office/drawing/2014/main" id="{DE12AA2B-818A-9777-BD8E-A7BB63D4E3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5769" b="5769"/>
          <a:stretch/>
        </p:blipFill>
        <p:spPr>
          <a:xfrm>
            <a:off x="3169457" y="1778924"/>
            <a:ext cx="5981471" cy="3364577"/>
          </a:xfrm>
          <a:custGeom>
            <a:avLst/>
            <a:gdLst>
              <a:gd name="connsiteX0" fmla="*/ 0 w 7941325"/>
              <a:gd name="connsiteY0" fmla="*/ 0 h 5048409"/>
              <a:gd name="connsiteX1" fmla="*/ 7941325 w 7941325"/>
              <a:gd name="connsiteY1" fmla="*/ 0 h 5048409"/>
              <a:gd name="connsiteX2" fmla="*/ 7941325 w 7941325"/>
              <a:gd name="connsiteY2" fmla="*/ 5048409 h 5048409"/>
              <a:gd name="connsiteX3" fmla="*/ 0 w 7941325"/>
              <a:gd name="connsiteY3" fmla="*/ 5048409 h 5048409"/>
            </a:gdLst>
            <a:ahLst/>
            <a:cxnLst>
              <a:cxn ang="0">
                <a:pos x="connsiteX0" y="connsiteY0"/>
              </a:cxn>
              <a:cxn ang="0">
                <a:pos x="connsiteX1" y="connsiteY1"/>
              </a:cxn>
              <a:cxn ang="0">
                <a:pos x="connsiteX2" y="connsiteY2"/>
              </a:cxn>
              <a:cxn ang="0">
                <a:pos x="connsiteX3" y="connsiteY3"/>
              </a:cxn>
            </a:cxnLst>
            <a:rect l="l" t="t" r="r" b="b"/>
            <a:pathLst>
              <a:path w="7941325" h="5048409">
                <a:moveTo>
                  <a:pt x="0" y="0"/>
                </a:moveTo>
                <a:lnTo>
                  <a:pt x="7941325" y="0"/>
                </a:lnTo>
                <a:lnTo>
                  <a:pt x="7941325" y="5048409"/>
                </a:lnTo>
                <a:lnTo>
                  <a:pt x="0" y="5048409"/>
                </a:lnTo>
                <a:close/>
              </a:path>
            </a:pathLst>
          </a:custGeom>
        </p:spPr>
      </p:pic>
      <p:sp>
        <p:nvSpPr>
          <p:cNvPr id="29" name="Freeform 28">
            <a:extLst>
              <a:ext uri="{FF2B5EF4-FFF2-40B4-BE49-F238E27FC236}">
                <a16:creationId xmlns:a16="http://schemas.microsoft.com/office/drawing/2014/main" id="{541953DF-2721-096C-C548-70DBF160B863}"/>
              </a:ext>
            </a:extLst>
          </p:cNvPr>
          <p:cNvSpPr/>
          <p:nvPr/>
        </p:nvSpPr>
        <p:spPr>
          <a:xfrm>
            <a:off x="-2" y="-3894"/>
            <a:ext cx="9144000" cy="5143500"/>
          </a:xfrm>
          <a:custGeom>
            <a:avLst/>
            <a:gdLst>
              <a:gd name="connsiteX0" fmla="*/ 4291740 w 9144000"/>
              <a:gd name="connsiteY0" fmla="*/ 2201516 h 5143500"/>
              <a:gd name="connsiteX1" fmla="*/ 3926106 w 9144000"/>
              <a:gd name="connsiteY1" fmla="*/ 2424161 h 5143500"/>
              <a:gd name="connsiteX2" fmla="*/ 3925571 w 9144000"/>
              <a:gd name="connsiteY2" fmla="*/ 2806700 h 5143500"/>
              <a:gd name="connsiteX3" fmla="*/ 4114167 w 9144000"/>
              <a:gd name="connsiteY3" fmla="*/ 2678047 h 5143500"/>
              <a:gd name="connsiteX4" fmla="*/ 4113481 w 9144000"/>
              <a:gd name="connsiteY4" fmla="*/ 2458487 h 5143500"/>
              <a:gd name="connsiteX5" fmla="*/ 4291322 w 9144000"/>
              <a:gd name="connsiteY5" fmla="*/ 2356262 h 5143500"/>
              <a:gd name="connsiteX6" fmla="*/ 3925655 w 9144000"/>
              <a:gd name="connsiteY6" fmla="*/ 1968843 h 5143500"/>
              <a:gd name="connsiteX7" fmla="*/ 3926006 w 9144000"/>
              <a:gd name="connsiteY7" fmla="*/ 2236195 h 5143500"/>
              <a:gd name="connsiteX8" fmla="*/ 4043630 w 9144000"/>
              <a:gd name="connsiteY8" fmla="*/ 2301058 h 5143500"/>
              <a:gd name="connsiteX9" fmla="*/ 4258404 w 9144000"/>
              <a:gd name="connsiteY9" fmla="*/ 2167709 h 5143500"/>
              <a:gd name="connsiteX10" fmla="*/ 0 w 9144000"/>
              <a:gd name="connsiteY10" fmla="*/ 0 h 5143500"/>
              <a:gd name="connsiteX11" fmla="*/ 9144000 w 9144000"/>
              <a:gd name="connsiteY11" fmla="*/ 0 h 5143500"/>
              <a:gd name="connsiteX12" fmla="*/ 9144000 w 9144000"/>
              <a:gd name="connsiteY12" fmla="*/ 5143500 h 5143500"/>
              <a:gd name="connsiteX13" fmla="*/ 0 w 9144000"/>
              <a:gd name="connsiteY13"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5143500">
                <a:moveTo>
                  <a:pt x="4291740" y="2201516"/>
                </a:moveTo>
                <a:lnTo>
                  <a:pt x="3926106" y="2424161"/>
                </a:lnTo>
                <a:lnTo>
                  <a:pt x="3925571" y="2806700"/>
                </a:lnTo>
                <a:lnTo>
                  <a:pt x="4114167" y="2678047"/>
                </a:lnTo>
                <a:lnTo>
                  <a:pt x="4113481" y="2458487"/>
                </a:lnTo>
                <a:lnTo>
                  <a:pt x="4291322" y="2356262"/>
                </a:lnTo>
                <a:close/>
                <a:moveTo>
                  <a:pt x="3925655" y="1968843"/>
                </a:moveTo>
                <a:lnTo>
                  <a:pt x="3926006" y="2236195"/>
                </a:lnTo>
                <a:lnTo>
                  <a:pt x="4043630" y="2301058"/>
                </a:lnTo>
                <a:lnTo>
                  <a:pt x="4258404" y="2167709"/>
                </a:lnTo>
                <a:close/>
                <a:moveTo>
                  <a:pt x="0" y="0"/>
                </a:moveTo>
                <a:lnTo>
                  <a:pt x="9144000" y="0"/>
                </a:lnTo>
                <a:lnTo>
                  <a:pt x="9144000" y="5143500"/>
                </a:lnTo>
                <a:lnTo>
                  <a:pt x="0" y="5143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16" name="GVA | Dubai | CT">
            <a:extLst>
              <a:ext uri="{FF2B5EF4-FFF2-40B4-BE49-F238E27FC236}">
                <a16:creationId xmlns:a16="http://schemas.microsoft.com/office/drawing/2014/main" id="{2EC24BB5-EAE0-7586-8D61-AA5C1D51B75C}"/>
              </a:ext>
            </a:extLst>
          </p:cNvPr>
          <p:cNvSpPr txBox="1"/>
          <p:nvPr/>
        </p:nvSpPr>
        <p:spPr>
          <a:xfrm>
            <a:off x="3823119" y="2989990"/>
            <a:ext cx="1497762" cy="184666"/>
          </a:xfrm>
          <a:prstGeom prst="rect">
            <a:avLst/>
          </a:prstGeom>
          <a:noFill/>
        </p:spPr>
        <p:txBody>
          <a:bodyPr wrap="square">
            <a:spAutoFit/>
          </a:bodyPr>
          <a:lstStyle/>
          <a:p>
            <a:pPr marL="0" marR="0" lvl="0" indent="0"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accent3"/>
                </a:solidFill>
                <a:effectLst/>
                <a:uLnTx/>
                <a:uFillTx/>
                <a:latin typeface="+mn-lt"/>
                <a:ea typeface="+mn-ea"/>
                <a:cs typeface="+mn-cs"/>
              </a:rPr>
              <a:t>GENEVA | DUBAI | CINCINNATI</a:t>
            </a:r>
          </a:p>
        </p:txBody>
      </p:sp>
      <p:sp>
        <p:nvSpPr>
          <p:cNvPr id="18" name="Cube">
            <a:extLst>
              <a:ext uri="{FF2B5EF4-FFF2-40B4-BE49-F238E27FC236}">
                <a16:creationId xmlns:a16="http://schemas.microsoft.com/office/drawing/2014/main" id="{08071754-0893-B688-B5D1-A670D8576A33}"/>
              </a:ext>
            </a:extLst>
          </p:cNvPr>
          <p:cNvSpPr/>
          <p:nvPr/>
        </p:nvSpPr>
        <p:spPr>
          <a:xfrm>
            <a:off x="4153228" y="2408619"/>
            <a:ext cx="291213" cy="331558"/>
          </a:xfrm>
          <a:custGeom>
            <a:avLst/>
            <a:gdLst>
              <a:gd name="connsiteX0" fmla="*/ 291113 w 291213"/>
              <a:gd name="connsiteY0" fmla="*/ 95011 h 331558"/>
              <a:gd name="connsiteX1" fmla="*/ 291113 w 291213"/>
              <a:gd name="connsiteY1" fmla="*/ 101467 h 331558"/>
              <a:gd name="connsiteX2" fmla="*/ 291213 w 291213"/>
              <a:gd name="connsiteY2" fmla="*/ 247242 h 331558"/>
              <a:gd name="connsiteX3" fmla="*/ 286245 w 291213"/>
              <a:gd name="connsiteY3" fmla="*/ 255778 h 331558"/>
              <a:gd name="connsiteX4" fmla="*/ 158869 w 291213"/>
              <a:gd name="connsiteY4" fmla="*/ 329328 h 331558"/>
              <a:gd name="connsiteX5" fmla="*/ 154788 w 291213"/>
              <a:gd name="connsiteY5" fmla="*/ 331558 h 331558"/>
              <a:gd name="connsiteX6" fmla="*/ 154470 w 291213"/>
              <a:gd name="connsiteY6" fmla="*/ 325504 h 331558"/>
              <a:gd name="connsiteX7" fmla="*/ 154403 w 291213"/>
              <a:gd name="connsiteY7" fmla="*/ 179142 h 331558"/>
              <a:gd name="connsiteX8" fmla="*/ 158468 w 291213"/>
              <a:gd name="connsiteY8" fmla="*/ 171227 h 331558"/>
              <a:gd name="connsiteX9" fmla="*/ 284338 w 291213"/>
              <a:gd name="connsiteY9" fmla="*/ 98533 h 331558"/>
              <a:gd name="connsiteX10" fmla="*/ 291113 w 291213"/>
              <a:gd name="connsiteY10" fmla="*/ 95011 h 331558"/>
              <a:gd name="connsiteX11" fmla="*/ 331 w 291213"/>
              <a:gd name="connsiteY11" fmla="*/ 94928 h 331558"/>
              <a:gd name="connsiteX12" fmla="*/ 36997 w 291213"/>
              <a:gd name="connsiteY12" fmla="*/ 116057 h 331558"/>
              <a:gd name="connsiteX13" fmla="*/ 131654 w 291213"/>
              <a:gd name="connsiteY13" fmla="*/ 170825 h 331558"/>
              <a:gd name="connsiteX14" fmla="*/ 136823 w 291213"/>
              <a:gd name="connsiteY14" fmla="*/ 178103 h 331558"/>
              <a:gd name="connsiteX15" fmla="*/ 136689 w 291213"/>
              <a:gd name="connsiteY15" fmla="*/ 327835 h 331558"/>
              <a:gd name="connsiteX16" fmla="*/ 136455 w 291213"/>
              <a:gd name="connsiteY16" fmla="*/ 331340 h 331558"/>
              <a:gd name="connsiteX17" fmla="*/ 132257 w 291213"/>
              <a:gd name="connsiteY17" fmla="*/ 329378 h 331558"/>
              <a:gd name="connsiteX18" fmla="*/ 3610 w 291213"/>
              <a:gd name="connsiteY18" fmla="*/ 254805 h 331558"/>
              <a:gd name="connsiteX19" fmla="*/ 148 w 291213"/>
              <a:gd name="connsiteY19" fmla="*/ 249221 h 331558"/>
              <a:gd name="connsiteX20" fmla="*/ 14 w 291213"/>
              <a:gd name="connsiteY20" fmla="*/ 97745 h 331558"/>
              <a:gd name="connsiteX21" fmla="*/ 331 w 291213"/>
              <a:gd name="connsiteY21" fmla="*/ 94928 h 331558"/>
              <a:gd name="connsiteX22" fmla="*/ 151861 w 291213"/>
              <a:gd name="connsiteY22" fmla="*/ 2009 h 331558"/>
              <a:gd name="connsiteX23" fmla="*/ 275523 w 291213"/>
              <a:gd name="connsiteY23" fmla="*/ 73748 h 331558"/>
              <a:gd name="connsiteX24" fmla="*/ 281946 w 291213"/>
              <a:gd name="connsiteY24" fmla="*/ 77722 h 331558"/>
              <a:gd name="connsiteX25" fmla="*/ 242738 w 291213"/>
              <a:gd name="connsiteY25" fmla="*/ 100512 h 331558"/>
              <a:gd name="connsiteX26" fmla="*/ 150104 w 291213"/>
              <a:gd name="connsiteY26" fmla="*/ 154190 h 331558"/>
              <a:gd name="connsiteX27" fmla="*/ 140787 w 291213"/>
              <a:gd name="connsiteY27" fmla="*/ 154089 h 331558"/>
              <a:gd name="connsiteX28" fmla="*/ 14616 w 291213"/>
              <a:gd name="connsiteY28" fmla="*/ 80975 h 331558"/>
              <a:gd name="connsiteX29" fmla="*/ 9213 w 291213"/>
              <a:gd name="connsiteY29" fmla="*/ 77521 h 331558"/>
              <a:gd name="connsiteX30" fmla="*/ 44239 w 291213"/>
              <a:gd name="connsiteY30" fmla="*/ 57130 h 331558"/>
              <a:gd name="connsiteX31" fmla="*/ 138847 w 291213"/>
              <a:gd name="connsiteY31" fmla="*/ 2227 h 331558"/>
              <a:gd name="connsiteX32" fmla="*/ 151861 w 291213"/>
              <a:gd name="connsiteY32" fmla="*/ 2009 h 3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1213" h="331558">
                <a:moveTo>
                  <a:pt x="291113" y="95011"/>
                </a:moveTo>
                <a:cubicBezTo>
                  <a:pt x="291113" y="97761"/>
                  <a:pt x="291113" y="99606"/>
                  <a:pt x="291113" y="101467"/>
                </a:cubicBezTo>
                <a:cubicBezTo>
                  <a:pt x="291113" y="150065"/>
                  <a:pt x="291046" y="198662"/>
                  <a:pt x="291213" y="247242"/>
                </a:cubicBezTo>
                <a:cubicBezTo>
                  <a:pt x="291230" y="251502"/>
                  <a:pt x="289892" y="253665"/>
                  <a:pt x="286245" y="255778"/>
                </a:cubicBezTo>
                <a:cubicBezTo>
                  <a:pt x="243725" y="280177"/>
                  <a:pt x="201306" y="304778"/>
                  <a:pt x="158869" y="329328"/>
                </a:cubicBezTo>
                <a:cubicBezTo>
                  <a:pt x="157748" y="329982"/>
                  <a:pt x="156577" y="330569"/>
                  <a:pt x="154788" y="331558"/>
                </a:cubicBezTo>
                <a:cubicBezTo>
                  <a:pt x="154654" y="329143"/>
                  <a:pt x="154470" y="327332"/>
                  <a:pt x="154470" y="325504"/>
                </a:cubicBezTo>
                <a:cubicBezTo>
                  <a:pt x="154453" y="276723"/>
                  <a:pt x="154487" y="227941"/>
                  <a:pt x="154403" y="179142"/>
                </a:cubicBezTo>
                <a:cubicBezTo>
                  <a:pt x="154403" y="175604"/>
                  <a:pt x="154972" y="173223"/>
                  <a:pt x="158468" y="171227"/>
                </a:cubicBezTo>
                <a:cubicBezTo>
                  <a:pt x="200486" y="147113"/>
                  <a:pt x="242404" y="122798"/>
                  <a:pt x="284338" y="98533"/>
                </a:cubicBezTo>
                <a:cubicBezTo>
                  <a:pt x="286279" y="97409"/>
                  <a:pt x="288319" y="96453"/>
                  <a:pt x="291113" y="95011"/>
                </a:cubicBezTo>
                <a:close/>
                <a:moveTo>
                  <a:pt x="331" y="94928"/>
                </a:moveTo>
                <a:cubicBezTo>
                  <a:pt x="13027" y="102239"/>
                  <a:pt x="25020" y="109131"/>
                  <a:pt x="36997" y="116057"/>
                </a:cubicBezTo>
                <a:cubicBezTo>
                  <a:pt x="68544" y="134319"/>
                  <a:pt x="100074" y="152614"/>
                  <a:pt x="131654" y="170825"/>
                </a:cubicBezTo>
                <a:cubicBezTo>
                  <a:pt x="134565" y="172502"/>
                  <a:pt x="136840" y="173861"/>
                  <a:pt x="136823" y="178103"/>
                </a:cubicBezTo>
                <a:cubicBezTo>
                  <a:pt x="136639" y="228008"/>
                  <a:pt x="136706" y="277930"/>
                  <a:pt x="136689" y="327835"/>
                </a:cubicBezTo>
                <a:cubicBezTo>
                  <a:pt x="136689" y="328791"/>
                  <a:pt x="136572" y="329747"/>
                  <a:pt x="136455" y="331340"/>
                </a:cubicBezTo>
                <a:cubicBezTo>
                  <a:pt x="134849" y="330602"/>
                  <a:pt x="133494" y="330082"/>
                  <a:pt x="132257" y="329378"/>
                </a:cubicBezTo>
                <a:cubicBezTo>
                  <a:pt x="89335" y="304576"/>
                  <a:pt x="46414" y="279775"/>
                  <a:pt x="3610" y="254805"/>
                </a:cubicBezTo>
                <a:cubicBezTo>
                  <a:pt x="1904" y="253816"/>
                  <a:pt x="148" y="251116"/>
                  <a:pt x="148" y="249221"/>
                </a:cubicBezTo>
                <a:cubicBezTo>
                  <a:pt x="-37" y="198729"/>
                  <a:pt x="-3" y="148237"/>
                  <a:pt x="14" y="97745"/>
                </a:cubicBezTo>
                <a:cubicBezTo>
                  <a:pt x="14" y="97158"/>
                  <a:pt x="131" y="96588"/>
                  <a:pt x="331" y="94928"/>
                </a:cubicBezTo>
                <a:close/>
                <a:moveTo>
                  <a:pt x="151861" y="2009"/>
                </a:moveTo>
                <a:cubicBezTo>
                  <a:pt x="192975" y="26107"/>
                  <a:pt x="234274" y="49869"/>
                  <a:pt x="275523" y="73748"/>
                </a:cubicBezTo>
                <a:cubicBezTo>
                  <a:pt x="277447" y="74855"/>
                  <a:pt x="279320" y="76096"/>
                  <a:pt x="281946" y="77722"/>
                </a:cubicBezTo>
                <a:cubicBezTo>
                  <a:pt x="268347" y="85620"/>
                  <a:pt x="255551" y="93083"/>
                  <a:pt x="242738" y="100512"/>
                </a:cubicBezTo>
                <a:cubicBezTo>
                  <a:pt x="211843" y="118388"/>
                  <a:pt x="180899" y="136163"/>
                  <a:pt x="150104" y="154190"/>
                </a:cubicBezTo>
                <a:cubicBezTo>
                  <a:pt x="146575" y="156252"/>
                  <a:pt x="144266" y="156101"/>
                  <a:pt x="140787" y="154089"/>
                </a:cubicBezTo>
                <a:cubicBezTo>
                  <a:pt x="98803" y="129606"/>
                  <a:pt x="56684" y="105324"/>
                  <a:pt x="14616" y="80975"/>
                </a:cubicBezTo>
                <a:cubicBezTo>
                  <a:pt x="12993" y="80036"/>
                  <a:pt x="11438" y="78946"/>
                  <a:pt x="9213" y="77521"/>
                </a:cubicBezTo>
                <a:cubicBezTo>
                  <a:pt x="21307" y="70478"/>
                  <a:pt x="32748" y="63770"/>
                  <a:pt x="44239" y="57130"/>
                </a:cubicBezTo>
                <a:cubicBezTo>
                  <a:pt x="75786" y="38851"/>
                  <a:pt x="107417" y="20707"/>
                  <a:pt x="138847" y="2227"/>
                </a:cubicBezTo>
                <a:cubicBezTo>
                  <a:pt x="143531" y="-523"/>
                  <a:pt x="146960" y="-875"/>
                  <a:pt x="151861" y="2009"/>
                </a:cubicBezTo>
                <a:close/>
              </a:path>
            </a:pathLst>
          </a:custGeom>
          <a:solidFill>
            <a:srgbClr val="00A099"/>
          </a:solidFill>
          <a:ln w="9513" cap="flat">
            <a:solidFill>
              <a:srgbClr val="04A8B5"/>
            </a:solid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19" name="O">
            <a:extLst>
              <a:ext uri="{FF2B5EF4-FFF2-40B4-BE49-F238E27FC236}">
                <a16:creationId xmlns:a16="http://schemas.microsoft.com/office/drawing/2014/main" id="{830D0215-9392-FB35-8716-F2749B8F1EAE}"/>
              </a:ext>
            </a:extLst>
          </p:cNvPr>
          <p:cNvSpPr/>
          <p:nvPr/>
        </p:nvSpPr>
        <p:spPr>
          <a:xfrm>
            <a:off x="4252864" y="2454503"/>
            <a:ext cx="97896" cy="56895"/>
          </a:xfrm>
          <a:custGeom>
            <a:avLst/>
            <a:gdLst>
              <a:gd name="connsiteX0" fmla="*/ 489158 w 556734"/>
              <a:gd name="connsiteY0" fmla="*/ 224271 h 323017"/>
              <a:gd name="connsiteX1" fmla="*/ 439122 w 556734"/>
              <a:gd name="connsiteY1" fmla="*/ 254737 h 323017"/>
              <a:gd name="connsiteX2" fmla="*/ 386707 w 556734"/>
              <a:gd name="connsiteY2" fmla="*/ 283775 h 323017"/>
              <a:gd name="connsiteX3" fmla="*/ 287110 w 556734"/>
              <a:gd name="connsiteY3" fmla="*/ 317858 h 323017"/>
              <a:gd name="connsiteX4" fmla="*/ 176669 w 556734"/>
              <a:gd name="connsiteY4" fmla="*/ 319001 h 323017"/>
              <a:gd name="connsiteX5" fmla="*/ 71174 w 556734"/>
              <a:gd name="connsiteY5" fmla="*/ 282061 h 323017"/>
              <a:gd name="connsiteX6" fmla="*/ 7059 w 556734"/>
              <a:gd name="connsiteY6" fmla="*/ 221034 h 323017"/>
              <a:gd name="connsiteX7" fmla="*/ 8676 w 556734"/>
              <a:gd name="connsiteY7" fmla="*/ 156961 h 323017"/>
              <a:gd name="connsiteX8" fmla="*/ 67179 w 556734"/>
              <a:gd name="connsiteY8" fmla="*/ 99076 h 323017"/>
              <a:gd name="connsiteX9" fmla="*/ 117691 w 556734"/>
              <a:gd name="connsiteY9" fmla="*/ 68990 h 323017"/>
              <a:gd name="connsiteX10" fmla="*/ 169535 w 556734"/>
              <a:gd name="connsiteY10" fmla="*/ 39572 h 323017"/>
              <a:gd name="connsiteX11" fmla="*/ 268561 w 556734"/>
              <a:gd name="connsiteY11" fmla="*/ 5107 h 323017"/>
              <a:gd name="connsiteX12" fmla="*/ 379288 w 556734"/>
              <a:gd name="connsiteY12" fmla="*/ 4060 h 323017"/>
              <a:gd name="connsiteX13" fmla="*/ 485068 w 556734"/>
              <a:gd name="connsiteY13" fmla="*/ 41190 h 323017"/>
              <a:gd name="connsiteX14" fmla="*/ 549468 w 556734"/>
              <a:gd name="connsiteY14" fmla="*/ 102407 h 323017"/>
              <a:gd name="connsiteX15" fmla="*/ 548136 w 556734"/>
              <a:gd name="connsiteY15" fmla="*/ 166671 h 323017"/>
              <a:gd name="connsiteX16" fmla="*/ 489158 w 556734"/>
              <a:gd name="connsiteY16" fmla="*/ 224271 h 323017"/>
              <a:gd name="connsiteX17" fmla="*/ 334673 w 556734"/>
              <a:gd name="connsiteY17" fmla="*/ 250453 h 323017"/>
              <a:gd name="connsiteX18" fmla="*/ 384139 w 556734"/>
              <a:gd name="connsiteY18" fmla="*/ 223033 h 323017"/>
              <a:gd name="connsiteX19" fmla="*/ 431322 w 556734"/>
              <a:gd name="connsiteY19" fmla="*/ 194281 h 323017"/>
              <a:gd name="connsiteX20" fmla="*/ 481168 w 556734"/>
              <a:gd name="connsiteY20" fmla="*/ 130398 h 323017"/>
              <a:gd name="connsiteX21" fmla="*/ 433510 w 556734"/>
              <a:gd name="connsiteY21" fmla="*/ 71466 h 323017"/>
              <a:gd name="connsiteX22" fmla="*/ 331820 w 556734"/>
              <a:gd name="connsiteY22" fmla="*/ 44047 h 323017"/>
              <a:gd name="connsiteX23" fmla="*/ 221759 w 556734"/>
              <a:gd name="connsiteY23" fmla="*/ 73084 h 323017"/>
              <a:gd name="connsiteX24" fmla="*/ 172864 w 556734"/>
              <a:gd name="connsiteY24" fmla="*/ 100884 h 323017"/>
              <a:gd name="connsiteX25" fmla="*/ 125206 w 556734"/>
              <a:gd name="connsiteY25" fmla="*/ 129351 h 323017"/>
              <a:gd name="connsiteX26" fmla="*/ 75359 w 556734"/>
              <a:gd name="connsiteY26" fmla="*/ 193234 h 323017"/>
              <a:gd name="connsiteX27" fmla="*/ 122923 w 556734"/>
              <a:gd name="connsiteY27" fmla="*/ 252071 h 323017"/>
              <a:gd name="connsiteX28" fmla="*/ 224612 w 556734"/>
              <a:gd name="connsiteY28" fmla="*/ 279490 h 323017"/>
              <a:gd name="connsiteX29" fmla="*/ 334673 w 556734"/>
              <a:gd name="connsiteY29" fmla="*/ 250453 h 323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56734" h="323017">
                <a:moveTo>
                  <a:pt x="489158" y="224271"/>
                </a:moveTo>
                <a:cubicBezTo>
                  <a:pt x="466899" y="238171"/>
                  <a:pt x="450347" y="248263"/>
                  <a:pt x="439122" y="254737"/>
                </a:cubicBezTo>
                <a:cubicBezTo>
                  <a:pt x="427992" y="261211"/>
                  <a:pt x="410489" y="270922"/>
                  <a:pt x="386707" y="283775"/>
                </a:cubicBezTo>
                <a:cubicBezTo>
                  <a:pt x="356362" y="300055"/>
                  <a:pt x="323258" y="311480"/>
                  <a:pt x="287110" y="317858"/>
                </a:cubicBezTo>
                <a:cubicBezTo>
                  <a:pt x="250963" y="324333"/>
                  <a:pt x="214244" y="324713"/>
                  <a:pt x="176669" y="319001"/>
                </a:cubicBezTo>
                <a:cubicBezTo>
                  <a:pt x="139189" y="313384"/>
                  <a:pt x="103993" y="301007"/>
                  <a:pt x="71174" y="282061"/>
                </a:cubicBezTo>
                <a:cubicBezTo>
                  <a:pt x="38356" y="263115"/>
                  <a:pt x="17047" y="242836"/>
                  <a:pt x="7059" y="221034"/>
                </a:cubicBezTo>
                <a:cubicBezTo>
                  <a:pt x="-2834" y="199327"/>
                  <a:pt x="-2358" y="178001"/>
                  <a:pt x="8676" y="156961"/>
                </a:cubicBezTo>
                <a:cubicBezTo>
                  <a:pt x="19711" y="136015"/>
                  <a:pt x="39212" y="116784"/>
                  <a:pt x="67179" y="99076"/>
                </a:cubicBezTo>
                <a:cubicBezTo>
                  <a:pt x="78308" y="92125"/>
                  <a:pt x="95146" y="82129"/>
                  <a:pt x="117691" y="68990"/>
                </a:cubicBezTo>
                <a:cubicBezTo>
                  <a:pt x="140331" y="55852"/>
                  <a:pt x="157644" y="46046"/>
                  <a:pt x="169535" y="39572"/>
                </a:cubicBezTo>
                <a:cubicBezTo>
                  <a:pt x="199309" y="23101"/>
                  <a:pt x="232413" y="11581"/>
                  <a:pt x="268561" y="5107"/>
                </a:cubicBezTo>
                <a:cubicBezTo>
                  <a:pt x="304709" y="-1367"/>
                  <a:pt x="341522" y="-1652"/>
                  <a:pt x="379288" y="4060"/>
                </a:cubicBezTo>
                <a:cubicBezTo>
                  <a:pt x="417053" y="9867"/>
                  <a:pt x="452249" y="22244"/>
                  <a:pt x="485068" y="41190"/>
                </a:cubicBezTo>
                <a:cubicBezTo>
                  <a:pt x="517886" y="60136"/>
                  <a:pt x="539385" y="80510"/>
                  <a:pt x="549468" y="102407"/>
                </a:cubicBezTo>
                <a:cubicBezTo>
                  <a:pt x="559552" y="124305"/>
                  <a:pt x="559171" y="145631"/>
                  <a:pt x="548136" y="166671"/>
                </a:cubicBezTo>
                <a:cubicBezTo>
                  <a:pt x="537197" y="187807"/>
                  <a:pt x="517411" y="206944"/>
                  <a:pt x="489158" y="224271"/>
                </a:cubicBezTo>
                <a:close/>
                <a:moveTo>
                  <a:pt x="334673" y="250453"/>
                </a:moveTo>
                <a:cubicBezTo>
                  <a:pt x="358360" y="237505"/>
                  <a:pt x="374912" y="228365"/>
                  <a:pt x="384139" y="223033"/>
                </a:cubicBezTo>
                <a:cubicBezTo>
                  <a:pt x="393366" y="217702"/>
                  <a:pt x="408967" y="208086"/>
                  <a:pt x="431322" y="194281"/>
                </a:cubicBezTo>
                <a:cubicBezTo>
                  <a:pt x="465377" y="173146"/>
                  <a:pt x="482024" y="151819"/>
                  <a:pt x="481168" y="130398"/>
                </a:cubicBezTo>
                <a:cubicBezTo>
                  <a:pt x="480216" y="108977"/>
                  <a:pt x="464330" y="89364"/>
                  <a:pt x="433510" y="71466"/>
                </a:cubicBezTo>
                <a:cubicBezTo>
                  <a:pt x="402689" y="53662"/>
                  <a:pt x="368728" y="44522"/>
                  <a:pt x="331820" y="44047"/>
                </a:cubicBezTo>
                <a:cubicBezTo>
                  <a:pt x="294911" y="43570"/>
                  <a:pt x="258192" y="53282"/>
                  <a:pt x="221759" y="73084"/>
                </a:cubicBezTo>
                <a:cubicBezTo>
                  <a:pt x="209868" y="79558"/>
                  <a:pt x="193506" y="88793"/>
                  <a:pt x="172864" y="100884"/>
                </a:cubicBezTo>
                <a:cubicBezTo>
                  <a:pt x="152126" y="112880"/>
                  <a:pt x="136335" y="122401"/>
                  <a:pt x="125206" y="129351"/>
                </a:cubicBezTo>
                <a:cubicBezTo>
                  <a:pt x="91055" y="150582"/>
                  <a:pt x="74503" y="171813"/>
                  <a:pt x="75359" y="193234"/>
                </a:cubicBezTo>
                <a:cubicBezTo>
                  <a:pt x="76216" y="214655"/>
                  <a:pt x="92102" y="234268"/>
                  <a:pt x="122923" y="252071"/>
                </a:cubicBezTo>
                <a:cubicBezTo>
                  <a:pt x="153744" y="269875"/>
                  <a:pt x="187703" y="279015"/>
                  <a:pt x="224612" y="279490"/>
                </a:cubicBezTo>
                <a:cubicBezTo>
                  <a:pt x="261617" y="279967"/>
                  <a:pt x="298240" y="270255"/>
                  <a:pt x="334673" y="250453"/>
                </a:cubicBezTo>
              </a:path>
            </a:pathLst>
          </a:custGeom>
          <a:solidFill>
            <a:srgbClr val="DCDCDC"/>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0" name="N">
            <a:extLst>
              <a:ext uri="{FF2B5EF4-FFF2-40B4-BE49-F238E27FC236}">
                <a16:creationId xmlns:a16="http://schemas.microsoft.com/office/drawing/2014/main" id="{348BA511-D9CE-E00A-D327-3DA8FB592314}"/>
              </a:ext>
            </a:extLst>
          </p:cNvPr>
          <p:cNvSpPr/>
          <p:nvPr/>
        </p:nvSpPr>
        <p:spPr>
          <a:xfrm>
            <a:off x="4189456" y="2567856"/>
            <a:ext cx="53359" cy="110401"/>
          </a:xfrm>
          <a:custGeom>
            <a:avLst/>
            <a:gdLst>
              <a:gd name="connsiteX0" fmla="*/ 287947 w 303452"/>
              <a:gd name="connsiteY0" fmla="*/ 158617 h 626795"/>
              <a:gd name="connsiteX1" fmla="*/ 298886 w 303452"/>
              <a:gd name="connsiteY1" fmla="*/ 170232 h 626795"/>
              <a:gd name="connsiteX2" fmla="*/ 303452 w 303452"/>
              <a:gd name="connsiteY2" fmla="*/ 185656 h 626795"/>
              <a:gd name="connsiteX3" fmla="*/ 302216 w 303452"/>
              <a:gd name="connsiteY3" fmla="*/ 615700 h 626795"/>
              <a:gd name="connsiteX4" fmla="*/ 297555 w 303452"/>
              <a:gd name="connsiteY4" fmla="*/ 625697 h 626795"/>
              <a:gd name="connsiteX5" fmla="*/ 286520 w 303452"/>
              <a:gd name="connsiteY5" fmla="*/ 624650 h 626795"/>
              <a:gd name="connsiteX6" fmla="*/ 266258 w 303452"/>
              <a:gd name="connsiteY6" fmla="*/ 612939 h 626795"/>
              <a:gd name="connsiteX7" fmla="*/ 253511 w 303452"/>
              <a:gd name="connsiteY7" fmla="*/ 600277 h 626795"/>
              <a:gd name="connsiteX8" fmla="*/ 243142 w 303452"/>
              <a:gd name="connsiteY8" fmla="*/ 579617 h 626795"/>
              <a:gd name="connsiteX9" fmla="*/ 55934 w 303452"/>
              <a:gd name="connsiteY9" fmla="*/ 145384 h 626795"/>
              <a:gd name="connsiteX10" fmla="*/ 54983 w 303452"/>
              <a:gd name="connsiteY10" fmla="*/ 472892 h 626795"/>
              <a:gd name="connsiteX11" fmla="*/ 50227 w 303452"/>
              <a:gd name="connsiteY11" fmla="*/ 482793 h 626795"/>
              <a:gd name="connsiteX12" fmla="*/ 39287 w 303452"/>
              <a:gd name="connsiteY12" fmla="*/ 481746 h 626795"/>
              <a:gd name="connsiteX13" fmla="*/ 15506 w 303452"/>
              <a:gd name="connsiteY13" fmla="*/ 468036 h 626795"/>
              <a:gd name="connsiteX14" fmla="*/ 4566 w 303452"/>
              <a:gd name="connsiteY14" fmla="*/ 456421 h 626795"/>
              <a:gd name="connsiteX15" fmla="*/ 0 w 303452"/>
              <a:gd name="connsiteY15" fmla="*/ 441093 h 626795"/>
              <a:gd name="connsiteX16" fmla="*/ 1237 w 303452"/>
              <a:gd name="connsiteY16" fmla="*/ 11048 h 626795"/>
              <a:gd name="connsiteX17" fmla="*/ 5898 w 303452"/>
              <a:gd name="connsiteY17" fmla="*/ 1052 h 626795"/>
              <a:gd name="connsiteX18" fmla="*/ 16932 w 303452"/>
              <a:gd name="connsiteY18" fmla="*/ 2194 h 626795"/>
              <a:gd name="connsiteX19" fmla="*/ 37194 w 303452"/>
              <a:gd name="connsiteY19" fmla="*/ 13904 h 626795"/>
              <a:gd name="connsiteX20" fmla="*/ 49941 w 303452"/>
              <a:gd name="connsiteY20" fmla="*/ 26472 h 626795"/>
              <a:gd name="connsiteX21" fmla="*/ 60310 w 303452"/>
              <a:gd name="connsiteY21" fmla="*/ 47131 h 626795"/>
              <a:gd name="connsiteX22" fmla="*/ 247518 w 303452"/>
              <a:gd name="connsiteY22" fmla="*/ 481365 h 626795"/>
              <a:gd name="connsiteX23" fmla="*/ 248469 w 303452"/>
              <a:gd name="connsiteY23" fmla="*/ 153857 h 626795"/>
              <a:gd name="connsiteX24" fmla="*/ 253131 w 303452"/>
              <a:gd name="connsiteY24" fmla="*/ 143860 h 626795"/>
              <a:gd name="connsiteX25" fmla="*/ 264165 w 303452"/>
              <a:gd name="connsiteY25" fmla="*/ 145003 h 626795"/>
              <a:gd name="connsiteX26" fmla="*/ 287947 w 303452"/>
              <a:gd name="connsiteY26" fmla="*/ 158617 h 62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3452" h="626795">
                <a:moveTo>
                  <a:pt x="287947" y="158617"/>
                </a:moveTo>
                <a:cubicBezTo>
                  <a:pt x="292132" y="160997"/>
                  <a:pt x="295842" y="164901"/>
                  <a:pt x="298886" y="170232"/>
                </a:cubicBezTo>
                <a:cubicBezTo>
                  <a:pt x="301930" y="175564"/>
                  <a:pt x="303452" y="180705"/>
                  <a:pt x="303452" y="185656"/>
                </a:cubicBezTo>
                <a:lnTo>
                  <a:pt x="302216" y="615700"/>
                </a:lnTo>
                <a:cubicBezTo>
                  <a:pt x="302216" y="620556"/>
                  <a:pt x="300599" y="623888"/>
                  <a:pt x="297555" y="625697"/>
                </a:cubicBezTo>
                <a:cubicBezTo>
                  <a:pt x="294415" y="627506"/>
                  <a:pt x="290705" y="627030"/>
                  <a:pt x="286520" y="624650"/>
                </a:cubicBezTo>
                <a:lnTo>
                  <a:pt x="266258" y="612939"/>
                </a:lnTo>
                <a:cubicBezTo>
                  <a:pt x="261216" y="609988"/>
                  <a:pt x="257031" y="605894"/>
                  <a:pt x="253511" y="600277"/>
                </a:cubicBezTo>
                <a:cubicBezTo>
                  <a:pt x="250087" y="594755"/>
                  <a:pt x="246567" y="587805"/>
                  <a:pt x="243142" y="579617"/>
                </a:cubicBezTo>
                <a:lnTo>
                  <a:pt x="55934" y="145384"/>
                </a:lnTo>
                <a:lnTo>
                  <a:pt x="54983" y="472892"/>
                </a:lnTo>
                <a:cubicBezTo>
                  <a:pt x="54983" y="477747"/>
                  <a:pt x="53366" y="481080"/>
                  <a:pt x="50227" y="482793"/>
                </a:cubicBezTo>
                <a:cubicBezTo>
                  <a:pt x="47182" y="484602"/>
                  <a:pt x="43473" y="484221"/>
                  <a:pt x="39287" y="481746"/>
                </a:cubicBezTo>
                <a:lnTo>
                  <a:pt x="15506" y="468036"/>
                </a:lnTo>
                <a:cubicBezTo>
                  <a:pt x="11225" y="465561"/>
                  <a:pt x="7515" y="461657"/>
                  <a:pt x="4566" y="456421"/>
                </a:cubicBezTo>
                <a:cubicBezTo>
                  <a:pt x="1522" y="451089"/>
                  <a:pt x="0" y="446044"/>
                  <a:pt x="0" y="441093"/>
                </a:cubicBezTo>
                <a:lnTo>
                  <a:pt x="1237" y="11048"/>
                </a:lnTo>
                <a:cubicBezTo>
                  <a:pt x="1237" y="6193"/>
                  <a:pt x="2759" y="2765"/>
                  <a:pt x="5898" y="1052"/>
                </a:cubicBezTo>
                <a:cubicBezTo>
                  <a:pt x="8942" y="-662"/>
                  <a:pt x="12652" y="-281"/>
                  <a:pt x="16932" y="2194"/>
                </a:cubicBezTo>
                <a:lnTo>
                  <a:pt x="37194" y="13904"/>
                </a:lnTo>
                <a:cubicBezTo>
                  <a:pt x="42236" y="16856"/>
                  <a:pt x="46517" y="21045"/>
                  <a:pt x="49941" y="26472"/>
                </a:cubicBezTo>
                <a:cubicBezTo>
                  <a:pt x="53366" y="31993"/>
                  <a:pt x="56886" y="38944"/>
                  <a:pt x="60310" y="47131"/>
                </a:cubicBezTo>
                <a:lnTo>
                  <a:pt x="247518" y="481365"/>
                </a:lnTo>
                <a:lnTo>
                  <a:pt x="248469" y="153857"/>
                </a:lnTo>
                <a:cubicBezTo>
                  <a:pt x="248469" y="149001"/>
                  <a:pt x="249991" y="145574"/>
                  <a:pt x="253131" y="143860"/>
                </a:cubicBezTo>
                <a:cubicBezTo>
                  <a:pt x="256175" y="142147"/>
                  <a:pt x="259885" y="142528"/>
                  <a:pt x="264165" y="145003"/>
                </a:cubicBezTo>
                <a:lnTo>
                  <a:pt x="287947" y="158617"/>
                </a:lnTo>
                <a:close/>
              </a:path>
            </a:pathLst>
          </a:custGeom>
          <a:solidFill>
            <a:srgbClr val="FFFFFF"/>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2" name="E">
            <a:extLst>
              <a:ext uri="{FF2B5EF4-FFF2-40B4-BE49-F238E27FC236}">
                <a16:creationId xmlns:a16="http://schemas.microsoft.com/office/drawing/2014/main" id="{A7049829-8594-88C5-80D0-5C62DFD40D7F}"/>
              </a:ext>
            </a:extLst>
          </p:cNvPr>
          <p:cNvSpPr/>
          <p:nvPr/>
        </p:nvSpPr>
        <p:spPr>
          <a:xfrm>
            <a:off x="4356273" y="2572991"/>
            <a:ext cx="46835" cy="106127"/>
          </a:xfrm>
          <a:custGeom>
            <a:avLst/>
            <a:gdLst>
              <a:gd name="connsiteX0" fmla="*/ 244569 w 266353"/>
              <a:gd name="connsiteY0" fmla="*/ 2175 h 602527"/>
              <a:gd name="connsiteX1" fmla="*/ 255604 w 266353"/>
              <a:gd name="connsiteY1" fmla="*/ 1128 h 602527"/>
              <a:gd name="connsiteX2" fmla="*/ 260360 w 266353"/>
              <a:gd name="connsiteY2" fmla="*/ 11029 h 602527"/>
              <a:gd name="connsiteX3" fmla="*/ 260455 w 266353"/>
              <a:gd name="connsiteY3" fmla="*/ 35021 h 602527"/>
              <a:gd name="connsiteX4" fmla="*/ 255794 w 266353"/>
              <a:gd name="connsiteY4" fmla="*/ 50349 h 602527"/>
              <a:gd name="connsiteX5" fmla="*/ 244855 w 266353"/>
              <a:gd name="connsiteY5" fmla="*/ 61964 h 602527"/>
              <a:gd name="connsiteX6" fmla="*/ 55078 w 266353"/>
              <a:gd name="connsiteY6" fmla="*/ 171641 h 602527"/>
              <a:gd name="connsiteX7" fmla="*/ 55458 w 266353"/>
              <a:gd name="connsiteY7" fmla="*/ 312070 h 602527"/>
              <a:gd name="connsiteX8" fmla="*/ 232583 w 266353"/>
              <a:gd name="connsiteY8" fmla="*/ 209724 h 602527"/>
              <a:gd name="connsiteX9" fmla="*/ 243618 w 266353"/>
              <a:gd name="connsiteY9" fmla="*/ 208676 h 602527"/>
              <a:gd name="connsiteX10" fmla="*/ 248374 w 266353"/>
              <a:gd name="connsiteY10" fmla="*/ 218578 h 602527"/>
              <a:gd name="connsiteX11" fmla="*/ 248469 w 266353"/>
              <a:gd name="connsiteY11" fmla="*/ 242569 h 602527"/>
              <a:gd name="connsiteX12" fmla="*/ 243808 w 266353"/>
              <a:gd name="connsiteY12" fmla="*/ 257802 h 602527"/>
              <a:gd name="connsiteX13" fmla="*/ 232869 w 266353"/>
              <a:gd name="connsiteY13" fmla="*/ 269513 h 602527"/>
              <a:gd name="connsiteX14" fmla="*/ 55744 w 266353"/>
              <a:gd name="connsiteY14" fmla="*/ 371859 h 602527"/>
              <a:gd name="connsiteX15" fmla="*/ 56124 w 266353"/>
              <a:gd name="connsiteY15" fmla="*/ 517619 h 602527"/>
              <a:gd name="connsiteX16" fmla="*/ 250562 w 266353"/>
              <a:gd name="connsiteY16" fmla="*/ 405276 h 602527"/>
              <a:gd name="connsiteX17" fmla="*/ 261597 w 266353"/>
              <a:gd name="connsiteY17" fmla="*/ 404229 h 602527"/>
              <a:gd name="connsiteX18" fmla="*/ 266258 w 266353"/>
              <a:gd name="connsiteY18" fmla="*/ 414226 h 602527"/>
              <a:gd name="connsiteX19" fmla="*/ 266353 w 266353"/>
              <a:gd name="connsiteY19" fmla="*/ 438218 h 602527"/>
              <a:gd name="connsiteX20" fmla="*/ 261787 w 266353"/>
              <a:gd name="connsiteY20" fmla="*/ 453546 h 602527"/>
              <a:gd name="connsiteX21" fmla="*/ 250752 w 266353"/>
              <a:gd name="connsiteY21" fmla="*/ 465256 h 602527"/>
              <a:gd name="connsiteX22" fmla="*/ 17027 w 266353"/>
              <a:gd name="connsiteY22" fmla="*/ 600353 h 602527"/>
              <a:gd name="connsiteX23" fmla="*/ 5993 w 266353"/>
              <a:gd name="connsiteY23" fmla="*/ 601400 h 602527"/>
              <a:gd name="connsiteX24" fmla="*/ 1236 w 266353"/>
              <a:gd name="connsiteY24" fmla="*/ 591499 h 602527"/>
              <a:gd name="connsiteX25" fmla="*/ 0 w 266353"/>
              <a:gd name="connsiteY25" fmla="*/ 161454 h 602527"/>
              <a:gd name="connsiteX26" fmla="*/ 4661 w 266353"/>
              <a:gd name="connsiteY26" fmla="*/ 146126 h 602527"/>
              <a:gd name="connsiteX27" fmla="*/ 15601 w 266353"/>
              <a:gd name="connsiteY27" fmla="*/ 134511 h 602527"/>
              <a:gd name="connsiteX28" fmla="*/ 244569 w 266353"/>
              <a:gd name="connsiteY28" fmla="*/ 2175 h 6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353" h="602527">
                <a:moveTo>
                  <a:pt x="244569" y="2175"/>
                </a:moveTo>
                <a:cubicBezTo>
                  <a:pt x="248850" y="-300"/>
                  <a:pt x="252560" y="-681"/>
                  <a:pt x="255604" y="1128"/>
                </a:cubicBezTo>
                <a:cubicBezTo>
                  <a:pt x="258743" y="2936"/>
                  <a:pt x="260265" y="6173"/>
                  <a:pt x="260360" y="11029"/>
                </a:cubicBezTo>
                <a:lnTo>
                  <a:pt x="260455" y="35021"/>
                </a:lnTo>
                <a:cubicBezTo>
                  <a:pt x="260455" y="39876"/>
                  <a:pt x="258933" y="45017"/>
                  <a:pt x="255794" y="50349"/>
                </a:cubicBezTo>
                <a:cubicBezTo>
                  <a:pt x="252750" y="55680"/>
                  <a:pt x="249135" y="59489"/>
                  <a:pt x="244855" y="61964"/>
                </a:cubicBezTo>
                <a:lnTo>
                  <a:pt x="55078" y="171641"/>
                </a:lnTo>
                <a:lnTo>
                  <a:pt x="55458" y="312070"/>
                </a:lnTo>
                <a:lnTo>
                  <a:pt x="232583" y="209724"/>
                </a:lnTo>
                <a:cubicBezTo>
                  <a:pt x="236769" y="207343"/>
                  <a:pt x="240479" y="206867"/>
                  <a:pt x="243618" y="208676"/>
                </a:cubicBezTo>
                <a:cubicBezTo>
                  <a:pt x="246757" y="210485"/>
                  <a:pt x="248279" y="213817"/>
                  <a:pt x="248374" y="218578"/>
                </a:cubicBezTo>
                <a:lnTo>
                  <a:pt x="248469" y="242569"/>
                </a:lnTo>
                <a:cubicBezTo>
                  <a:pt x="248469" y="247425"/>
                  <a:pt x="246947" y="252566"/>
                  <a:pt x="243808" y="257802"/>
                </a:cubicBezTo>
                <a:cubicBezTo>
                  <a:pt x="240764" y="263229"/>
                  <a:pt x="237054" y="267133"/>
                  <a:pt x="232869" y="269513"/>
                </a:cubicBezTo>
                <a:lnTo>
                  <a:pt x="55744" y="371859"/>
                </a:lnTo>
                <a:lnTo>
                  <a:pt x="56124" y="517619"/>
                </a:lnTo>
                <a:lnTo>
                  <a:pt x="250562" y="405276"/>
                </a:lnTo>
                <a:cubicBezTo>
                  <a:pt x="254843" y="402801"/>
                  <a:pt x="258553" y="402420"/>
                  <a:pt x="261597" y="404229"/>
                </a:cubicBezTo>
                <a:cubicBezTo>
                  <a:pt x="264736" y="406038"/>
                  <a:pt x="266258" y="409275"/>
                  <a:pt x="266258" y="414226"/>
                </a:cubicBezTo>
                <a:lnTo>
                  <a:pt x="266353" y="438218"/>
                </a:lnTo>
                <a:cubicBezTo>
                  <a:pt x="266353" y="443073"/>
                  <a:pt x="264831" y="448214"/>
                  <a:pt x="261787" y="453546"/>
                </a:cubicBezTo>
                <a:cubicBezTo>
                  <a:pt x="258743" y="458877"/>
                  <a:pt x="255033" y="462781"/>
                  <a:pt x="250752" y="465256"/>
                </a:cubicBezTo>
                <a:lnTo>
                  <a:pt x="17027" y="600353"/>
                </a:lnTo>
                <a:cubicBezTo>
                  <a:pt x="12747" y="602828"/>
                  <a:pt x="9132" y="603209"/>
                  <a:pt x="5993" y="601400"/>
                </a:cubicBezTo>
                <a:cubicBezTo>
                  <a:pt x="2854" y="599591"/>
                  <a:pt x="1332" y="596354"/>
                  <a:pt x="1236" y="591499"/>
                </a:cubicBezTo>
                <a:lnTo>
                  <a:pt x="0" y="161454"/>
                </a:lnTo>
                <a:cubicBezTo>
                  <a:pt x="0" y="156599"/>
                  <a:pt x="1522" y="151458"/>
                  <a:pt x="4661" y="146126"/>
                </a:cubicBezTo>
                <a:cubicBezTo>
                  <a:pt x="7705" y="140794"/>
                  <a:pt x="11320" y="136986"/>
                  <a:pt x="15601" y="134511"/>
                </a:cubicBezTo>
                <a:lnTo>
                  <a:pt x="244569" y="2175"/>
                </a:lnTo>
                <a:close/>
              </a:path>
            </a:pathLst>
          </a:custGeom>
          <a:solidFill>
            <a:srgbClr val="C5C5C5"/>
          </a:solidFill>
          <a:ln w="9513" cap="flat">
            <a:noFill/>
            <a:prstDash val="solid"/>
            <a:miter/>
          </a:ln>
        </p:spPr>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nvGrpSpPr>
          <p:cNvPr id="24" name="PricingOne Text">
            <a:extLst>
              <a:ext uri="{FF2B5EF4-FFF2-40B4-BE49-F238E27FC236}">
                <a16:creationId xmlns:a16="http://schemas.microsoft.com/office/drawing/2014/main" id="{3D53B74A-924C-293E-D6D0-823ECA97F03E}"/>
              </a:ext>
            </a:extLst>
          </p:cNvPr>
          <p:cNvGrpSpPr/>
          <p:nvPr/>
        </p:nvGrpSpPr>
        <p:grpSpPr>
          <a:xfrm>
            <a:off x="3925570" y="2825014"/>
            <a:ext cx="1188567" cy="154847"/>
            <a:chOff x="250460" y="1066734"/>
            <a:chExt cx="1188567" cy="154847"/>
          </a:xfrm>
        </p:grpSpPr>
        <p:sp>
          <p:nvSpPr>
            <p:cNvPr id="25" name="PRICING">
              <a:extLst>
                <a:ext uri="{FF2B5EF4-FFF2-40B4-BE49-F238E27FC236}">
                  <a16:creationId xmlns:a16="http://schemas.microsoft.com/office/drawing/2014/main" id="{5293AE02-55D9-AE07-99EC-2D66E1432C43}"/>
                </a:ext>
              </a:extLst>
            </p:cNvPr>
            <p:cNvSpPr/>
            <p:nvPr/>
          </p:nvSpPr>
          <p:spPr>
            <a:xfrm>
              <a:off x="250460" y="1087812"/>
              <a:ext cx="689970" cy="133769"/>
            </a:xfrm>
            <a:custGeom>
              <a:avLst/>
              <a:gdLst>
                <a:gd name="connsiteX0" fmla="*/ 10020 w 689970"/>
                <a:gd name="connsiteY0" fmla="*/ 11152 h 133769"/>
                <a:gd name="connsiteX1" fmla="*/ 10020 w 689970"/>
                <a:gd name="connsiteY1" fmla="*/ 77945 h 133769"/>
                <a:gd name="connsiteX2" fmla="*/ 56972 w 689970"/>
                <a:gd name="connsiteY2" fmla="*/ 77945 h 133769"/>
                <a:gd name="connsiteX3" fmla="*/ 56972 w 689970"/>
                <a:gd name="connsiteY3" fmla="*/ 11152 h 133769"/>
                <a:gd name="connsiteX4" fmla="*/ 131574 w 689970"/>
                <a:gd name="connsiteY4" fmla="*/ 11135 h 133769"/>
                <a:gd name="connsiteX5" fmla="*/ 131574 w 689970"/>
                <a:gd name="connsiteY5" fmla="*/ 73283 h 133769"/>
                <a:gd name="connsiteX6" fmla="*/ 177590 w 689970"/>
                <a:gd name="connsiteY6" fmla="*/ 73283 h 133769"/>
                <a:gd name="connsiteX7" fmla="*/ 210442 w 689970"/>
                <a:gd name="connsiteY7" fmla="*/ 42209 h 133769"/>
                <a:gd name="connsiteX8" fmla="*/ 178711 w 689970"/>
                <a:gd name="connsiteY8" fmla="*/ 11135 h 133769"/>
                <a:gd name="connsiteX9" fmla="*/ 450022 w 689970"/>
                <a:gd name="connsiteY9" fmla="*/ 1845 h 133769"/>
                <a:gd name="connsiteX10" fmla="*/ 454287 w 689970"/>
                <a:gd name="connsiteY10" fmla="*/ 1845 h 133769"/>
                <a:gd name="connsiteX11" fmla="*/ 541703 w 689970"/>
                <a:gd name="connsiteY11" fmla="*/ 109572 h 133769"/>
                <a:gd name="connsiteX12" fmla="*/ 541703 w 689970"/>
                <a:gd name="connsiteY12" fmla="*/ 1845 h 133769"/>
                <a:gd name="connsiteX13" fmla="*/ 551538 w 689970"/>
                <a:gd name="connsiteY13" fmla="*/ 1845 h 133769"/>
                <a:gd name="connsiteX14" fmla="*/ 551538 w 689970"/>
                <a:gd name="connsiteY14" fmla="*/ 132076 h 133769"/>
                <a:gd name="connsiteX15" fmla="*/ 547641 w 689970"/>
                <a:gd name="connsiteY15" fmla="*/ 132076 h 133769"/>
                <a:gd name="connsiteX16" fmla="*/ 460041 w 689970"/>
                <a:gd name="connsiteY16" fmla="*/ 24534 h 133769"/>
                <a:gd name="connsiteX17" fmla="*/ 460041 w 689970"/>
                <a:gd name="connsiteY17" fmla="*/ 132076 h 133769"/>
                <a:gd name="connsiteX18" fmla="*/ 450022 w 689970"/>
                <a:gd name="connsiteY18" fmla="*/ 132076 h 133769"/>
                <a:gd name="connsiteX19" fmla="*/ 411416 w 689970"/>
                <a:gd name="connsiteY19" fmla="*/ 1845 h 133769"/>
                <a:gd name="connsiteX20" fmla="*/ 421251 w 689970"/>
                <a:gd name="connsiteY20" fmla="*/ 1845 h 133769"/>
                <a:gd name="connsiteX21" fmla="*/ 421251 w 689970"/>
                <a:gd name="connsiteY21" fmla="*/ 132076 h 133769"/>
                <a:gd name="connsiteX22" fmla="*/ 411416 w 689970"/>
                <a:gd name="connsiteY22" fmla="*/ 132076 h 133769"/>
                <a:gd name="connsiteX23" fmla="*/ 241989 w 689970"/>
                <a:gd name="connsiteY23" fmla="*/ 1845 h 133769"/>
                <a:gd name="connsiteX24" fmla="*/ 251824 w 689970"/>
                <a:gd name="connsiteY24" fmla="*/ 1845 h 133769"/>
                <a:gd name="connsiteX25" fmla="*/ 251824 w 689970"/>
                <a:gd name="connsiteY25" fmla="*/ 132076 h 133769"/>
                <a:gd name="connsiteX26" fmla="*/ 241989 w 689970"/>
                <a:gd name="connsiteY26" fmla="*/ 132076 h 133769"/>
                <a:gd name="connsiteX27" fmla="*/ 121555 w 689970"/>
                <a:gd name="connsiteY27" fmla="*/ 1845 h 133769"/>
                <a:gd name="connsiteX28" fmla="*/ 178711 w 689970"/>
                <a:gd name="connsiteY28" fmla="*/ 1845 h 133769"/>
                <a:gd name="connsiteX29" fmla="*/ 221398 w 689970"/>
                <a:gd name="connsiteY29" fmla="*/ 42410 h 133769"/>
                <a:gd name="connsiteX30" fmla="*/ 179263 w 689970"/>
                <a:gd name="connsiteY30" fmla="*/ 82221 h 133769"/>
                <a:gd name="connsiteX31" fmla="*/ 225111 w 689970"/>
                <a:gd name="connsiteY31" fmla="*/ 132076 h 133769"/>
                <a:gd name="connsiteX32" fmla="*/ 211930 w 689970"/>
                <a:gd name="connsiteY32" fmla="*/ 132076 h 133769"/>
                <a:gd name="connsiteX33" fmla="*/ 167019 w 689970"/>
                <a:gd name="connsiteY33" fmla="*/ 82774 h 133769"/>
                <a:gd name="connsiteX34" fmla="*/ 131574 w 689970"/>
                <a:gd name="connsiteY34" fmla="*/ 82774 h 133769"/>
                <a:gd name="connsiteX35" fmla="*/ 131574 w 689970"/>
                <a:gd name="connsiteY35" fmla="*/ 132076 h 133769"/>
                <a:gd name="connsiteX36" fmla="*/ 121555 w 689970"/>
                <a:gd name="connsiteY36" fmla="*/ 132076 h 133769"/>
                <a:gd name="connsiteX37" fmla="*/ 0 w 689970"/>
                <a:gd name="connsiteY37" fmla="*/ 1845 h 133769"/>
                <a:gd name="connsiteX38" fmla="*/ 56972 w 689970"/>
                <a:gd name="connsiteY38" fmla="*/ 1845 h 133769"/>
                <a:gd name="connsiteX39" fmla="*/ 56972 w 689970"/>
                <a:gd name="connsiteY39" fmla="*/ 87050 h 133769"/>
                <a:gd name="connsiteX40" fmla="*/ 10020 w 689970"/>
                <a:gd name="connsiteY40" fmla="*/ 87050 h 133769"/>
                <a:gd name="connsiteX41" fmla="*/ 10020 w 689970"/>
                <a:gd name="connsiteY41" fmla="*/ 132076 h 133769"/>
                <a:gd name="connsiteX42" fmla="*/ 0 w 689970"/>
                <a:gd name="connsiteY42" fmla="*/ 132076 h 133769"/>
                <a:gd name="connsiteX43" fmla="*/ 340343 w 689970"/>
                <a:gd name="connsiteY43" fmla="*/ 352 h 133769"/>
                <a:gd name="connsiteX44" fmla="*/ 387663 w 689970"/>
                <a:gd name="connsiteY44" fmla="*/ 19888 h 133769"/>
                <a:gd name="connsiteX45" fmla="*/ 380805 w 689970"/>
                <a:gd name="connsiteY45" fmla="*/ 25842 h 133769"/>
                <a:gd name="connsiteX46" fmla="*/ 340343 w 689970"/>
                <a:gd name="connsiteY46" fmla="*/ 9290 h 133769"/>
                <a:gd name="connsiteX47" fmla="*/ 283187 w 689970"/>
                <a:gd name="connsiteY47" fmla="*/ 67346 h 133769"/>
                <a:gd name="connsiteX48" fmla="*/ 340343 w 689970"/>
                <a:gd name="connsiteY48" fmla="*/ 124278 h 133769"/>
                <a:gd name="connsiteX49" fmla="*/ 380989 w 689970"/>
                <a:gd name="connsiteY49" fmla="*/ 107710 h 133769"/>
                <a:gd name="connsiteX50" fmla="*/ 387663 w 689970"/>
                <a:gd name="connsiteY50" fmla="*/ 114032 h 133769"/>
                <a:gd name="connsiteX51" fmla="*/ 340343 w 689970"/>
                <a:gd name="connsiteY51" fmla="*/ 133568 h 133769"/>
                <a:gd name="connsiteX52" fmla="*/ 273535 w 689970"/>
                <a:gd name="connsiteY52" fmla="*/ 67698 h 133769"/>
                <a:gd name="connsiteX53" fmla="*/ 340343 w 689970"/>
                <a:gd name="connsiteY53" fmla="*/ 352 h 133769"/>
                <a:gd name="connsiteX54" fmla="*/ 640977 w 689970"/>
                <a:gd name="connsiteY54" fmla="*/ 0 h 133769"/>
                <a:gd name="connsiteX55" fmla="*/ 688481 w 689970"/>
                <a:gd name="connsiteY55" fmla="*/ 19536 h 133769"/>
                <a:gd name="connsiteX56" fmla="*/ 682727 w 689970"/>
                <a:gd name="connsiteY56" fmla="*/ 25842 h 133769"/>
                <a:gd name="connsiteX57" fmla="*/ 640977 w 689970"/>
                <a:gd name="connsiteY57" fmla="*/ 9106 h 133769"/>
                <a:gd name="connsiteX58" fmla="*/ 583637 w 689970"/>
                <a:gd name="connsiteY58" fmla="*/ 67161 h 133769"/>
                <a:gd name="connsiteX59" fmla="*/ 640977 w 689970"/>
                <a:gd name="connsiteY59" fmla="*/ 124278 h 133769"/>
                <a:gd name="connsiteX60" fmla="*/ 680503 w 689970"/>
                <a:gd name="connsiteY60" fmla="*/ 109202 h 133769"/>
                <a:gd name="connsiteX61" fmla="*/ 680503 w 689970"/>
                <a:gd name="connsiteY61" fmla="*/ 72729 h 133769"/>
                <a:gd name="connsiteX62" fmla="*/ 635223 w 689970"/>
                <a:gd name="connsiteY62" fmla="*/ 72729 h 133769"/>
                <a:gd name="connsiteX63" fmla="*/ 635223 w 689970"/>
                <a:gd name="connsiteY63" fmla="*/ 63992 h 133769"/>
                <a:gd name="connsiteX64" fmla="*/ 689970 w 689970"/>
                <a:gd name="connsiteY64" fmla="*/ 63992 h 133769"/>
                <a:gd name="connsiteX65" fmla="*/ 689970 w 689970"/>
                <a:gd name="connsiteY65" fmla="*/ 112740 h 133769"/>
                <a:gd name="connsiteX66" fmla="*/ 640977 w 689970"/>
                <a:gd name="connsiteY66" fmla="*/ 133769 h 133769"/>
                <a:gd name="connsiteX67" fmla="*/ 573986 w 689970"/>
                <a:gd name="connsiteY67" fmla="*/ 67346 h 133769"/>
                <a:gd name="connsiteX68" fmla="*/ 640977 w 689970"/>
                <a:gd name="connsiteY68" fmla="*/ 0 h 13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970" h="133769">
                  <a:moveTo>
                    <a:pt x="10020" y="11152"/>
                  </a:moveTo>
                  <a:lnTo>
                    <a:pt x="10020" y="77945"/>
                  </a:lnTo>
                  <a:lnTo>
                    <a:pt x="56972" y="77945"/>
                  </a:lnTo>
                  <a:cubicBezTo>
                    <a:pt x="100211" y="77945"/>
                    <a:pt x="100211" y="11152"/>
                    <a:pt x="56972" y="11152"/>
                  </a:cubicBezTo>
                  <a:close/>
                  <a:moveTo>
                    <a:pt x="131574" y="11135"/>
                  </a:moveTo>
                  <a:lnTo>
                    <a:pt x="131574" y="73283"/>
                  </a:lnTo>
                  <a:lnTo>
                    <a:pt x="177590" y="73283"/>
                  </a:lnTo>
                  <a:cubicBezTo>
                    <a:pt x="200238" y="73283"/>
                    <a:pt x="210258" y="60454"/>
                    <a:pt x="210442" y="42209"/>
                  </a:cubicBezTo>
                  <a:cubicBezTo>
                    <a:pt x="210626" y="26949"/>
                    <a:pt x="200238" y="11135"/>
                    <a:pt x="178711" y="11135"/>
                  </a:cubicBezTo>
                  <a:close/>
                  <a:moveTo>
                    <a:pt x="450022" y="1845"/>
                  </a:moveTo>
                  <a:lnTo>
                    <a:pt x="454287" y="1845"/>
                  </a:lnTo>
                  <a:lnTo>
                    <a:pt x="541703" y="109572"/>
                  </a:lnTo>
                  <a:lnTo>
                    <a:pt x="541703" y="1845"/>
                  </a:lnTo>
                  <a:lnTo>
                    <a:pt x="551538" y="1845"/>
                  </a:lnTo>
                  <a:lnTo>
                    <a:pt x="551538" y="132076"/>
                  </a:lnTo>
                  <a:lnTo>
                    <a:pt x="547641" y="132076"/>
                  </a:lnTo>
                  <a:lnTo>
                    <a:pt x="460041" y="24534"/>
                  </a:lnTo>
                  <a:lnTo>
                    <a:pt x="460041" y="132076"/>
                  </a:lnTo>
                  <a:lnTo>
                    <a:pt x="450022" y="132076"/>
                  </a:lnTo>
                  <a:close/>
                  <a:moveTo>
                    <a:pt x="411416" y="1845"/>
                  </a:moveTo>
                  <a:lnTo>
                    <a:pt x="421251" y="1845"/>
                  </a:lnTo>
                  <a:lnTo>
                    <a:pt x="421251" y="132076"/>
                  </a:lnTo>
                  <a:lnTo>
                    <a:pt x="411416" y="132076"/>
                  </a:lnTo>
                  <a:close/>
                  <a:moveTo>
                    <a:pt x="241989" y="1845"/>
                  </a:moveTo>
                  <a:lnTo>
                    <a:pt x="251824" y="1845"/>
                  </a:lnTo>
                  <a:lnTo>
                    <a:pt x="251824" y="132076"/>
                  </a:lnTo>
                  <a:lnTo>
                    <a:pt x="241989" y="132076"/>
                  </a:lnTo>
                  <a:close/>
                  <a:moveTo>
                    <a:pt x="121555" y="1845"/>
                  </a:moveTo>
                  <a:cubicBezTo>
                    <a:pt x="140674" y="1845"/>
                    <a:pt x="159592" y="1845"/>
                    <a:pt x="178711" y="1845"/>
                  </a:cubicBezTo>
                  <a:cubicBezTo>
                    <a:pt x="206912" y="1845"/>
                    <a:pt x="221214" y="22119"/>
                    <a:pt x="221398" y="42410"/>
                  </a:cubicBezTo>
                  <a:cubicBezTo>
                    <a:pt x="221582" y="63623"/>
                    <a:pt x="207665" y="82221"/>
                    <a:pt x="179263" y="82221"/>
                  </a:cubicBezTo>
                  <a:lnTo>
                    <a:pt x="225111" y="132076"/>
                  </a:lnTo>
                  <a:lnTo>
                    <a:pt x="211930" y="132076"/>
                  </a:lnTo>
                  <a:lnTo>
                    <a:pt x="167019" y="82774"/>
                  </a:lnTo>
                  <a:lnTo>
                    <a:pt x="131574" y="82774"/>
                  </a:lnTo>
                  <a:lnTo>
                    <a:pt x="131574" y="132076"/>
                  </a:lnTo>
                  <a:lnTo>
                    <a:pt x="121555" y="132076"/>
                  </a:lnTo>
                  <a:close/>
                  <a:moveTo>
                    <a:pt x="0" y="1845"/>
                  </a:moveTo>
                  <a:cubicBezTo>
                    <a:pt x="18935" y="1845"/>
                    <a:pt x="38037" y="1845"/>
                    <a:pt x="56972" y="1845"/>
                  </a:cubicBezTo>
                  <a:cubicBezTo>
                    <a:pt x="113392" y="1845"/>
                    <a:pt x="113392" y="87050"/>
                    <a:pt x="56972" y="87050"/>
                  </a:cubicBezTo>
                  <a:lnTo>
                    <a:pt x="10020" y="87050"/>
                  </a:lnTo>
                  <a:lnTo>
                    <a:pt x="10020" y="132076"/>
                  </a:lnTo>
                  <a:lnTo>
                    <a:pt x="0" y="132076"/>
                  </a:lnTo>
                  <a:close/>
                  <a:moveTo>
                    <a:pt x="340343" y="352"/>
                  </a:moveTo>
                  <a:cubicBezTo>
                    <a:pt x="357421" y="352"/>
                    <a:pt x="374683" y="6859"/>
                    <a:pt x="387663" y="19888"/>
                  </a:cubicBezTo>
                  <a:lnTo>
                    <a:pt x="380805" y="25842"/>
                  </a:lnTo>
                  <a:cubicBezTo>
                    <a:pt x="369665" y="14673"/>
                    <a:pt x="355012" y="9290"/>
                    <a:pt x="340343" y="9290"/>
                  </a:cubicBezTo>
                  <a:cubicBezTo>
                    <a:pt x="302490" y="9290"/>
                    <a:pt x="283003" y="36088"/>
                    <a:pt x="283187" y="67346"/>
                  </a:cubicBezTo>
                  <a:cubicBezTo>
                    <a:pt x="283555" y="97866"/>
                    <a:pt x="302858" y="124278"/>
                    <a:pt x="340343" y="124278"/>
                  </a:cubicBezTo>
                  <a:cubicBezTo>
                    <a:pt x="355012" y="124278"/>
                    <a:pt x="369849" y="118694"/>
                    <a:pt x="380989" y="107710"/>
                  </a:cubicBezTo>
                  <a:lnTo>
                    <a:pt x="387663" y="114032"/>
                  </a:lnTo>
                  <a:cubicBezTo>
                    <a:pt x="374666" y="127062"/>
                    <a:pt x="357421" y="133568"/>
                    <a:pt x="340343" y="133568"/>
                  </a:cubicBezTo>
                  <a:cubicBezTo>
                    <a:pt x="296552" y="133568"/>
                    <a:pt x="273720" y="102863"/>
                    <a:pt x="273535" y="67698"/>
                  </a:cubicBezTo>
                  <a:cubicBezTo>
                    <a:pt x="273167" y="32901"/>
                    <a:pt x="295799" y="352"/>
                    <a:pt x="340343" y="352"/>
                  </a:cubicBezTo>
                  <a:close/>
                  <a:moveTo>
                    <a:pt x="640977" y="0"/>
                  </a:moveTo>
                  <a:cubicBezTo>
                    <a:pt x="658055" y="0"/>
                    <a:pt x="675317" y="6507"/>
                    <a:pt x="688481" y="19536"/>
                  </a:cubicBezTo>
                  <a:lnTo>
                    <a:pt x="682727" y="25842"/>
                  </a:lnTo>
                  <a:cubicBezTo>
                    <a:pt x="671403" y="14673"/>
                    <a:pt x="655630" y="9106"/>
                    <a:pt x="640977" y="9106"/>
                  </a:cubicBezTo>
                  <a:cubicBezTo>
                    <a:pt x="602940" y="9106"/>
                    <a:pt x="583453" y="37010"/>
                    <a:pt x="583637" y="67161"/>
                  </a:cubicBezTo>
                  <a:cubicBezTo>
                    <a:pt x="583637" y="97866"/>
                    <a:pt x="603124" y="124278"/>
                    <a:pt x="640977" y="124278"/>
                  </a:cubicBezTo>
                  <a:cubicBezTo>
                    <a:pt x="654894" y="124278"/>
                    <a:pt x="669363" y="119448"/>
                    <a:pt x="680503" y="109202"/>
                  </a:cubicBezTo>
                  <a:lnTo>
                    <a:pt x="680503" y="72729"/>
                  </a:lnTo>
                  <a:lnTo>
                    <a:pt x="635223" y="72729"/>
                  </a:lnTo>
                  <a:lnTo>
                    <a:pt x="635223" y="63992"/>
                  </a:lnTo>
                  <a:lnTo>
                    <a:pt x="689970" y="63992"/>
                  </a:lnTo>
                  <a:lnTo>
                    <a:pt x="689970" y="112740"/>
                  </a:lnTo>
                  <a:cubicBezTo>
                    <a:pt x="676421" y="126324"/>
                    <a:pt x="660280" y="133769"/>
                    <a:pt x="640977" y="133769"/>
                  </a:cubicBezTo>
                  <a:cubicBezTo>
                    <a:pt x="596801" y="133769"/>
                    <a:pt x="573986" y="102880"/>
                    <a:pt x="573986" y="67346"/>
                  </a:cubicBezTo>
                  <a:cubicBezTo>
                    <a:pt x="573802" y="26596"/>
                    <a:pt x="601451" y="0"/>
                    <a:pt x="640977" y="0"/>
                  </a:cubicBezTo>
                  <a:close/>
                </a:path>
              </a:pathLst>
            </a:custGeom>
            <a:solidFill>
              <a:schemeClr val="tx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Nexa Book" panose="00000400000000000000" pitchFamily="50" charset="0"/>
                <a:ea typeface="+mn-ea"/>
                <a:cs typeface="+mn-cs"/>
              </a:endParaRPr>
            </a:p>
          </p:txBody>
        </p:sp>
        <p:sp>
          <p:nvSpPr>
            <p:cNvPr id="26" name="ONE">
              <a:extLst>
                <a:ext uri="{FF2B5EF4-FFF2-40B4-BE49-F238E27FC236}">
                  <a16:creationId xmlns:a16="http://schemas.microsoft.com/office/drawing/2014/main" id="{9CED0049-6873-2C79-B94C-AE68737857F7}"/>
                </a:ext>
              </a:extLst>
            </p:cNvPr>
            <p:cNvSpPr/>
            <p:nvPr/>
          </p:nvSpPr>
          <p:spPr>
            <a:xfrm>
              <a:off x="972162" y="1085079"/>
              <a:ext cx="380638" cy="135848"/>
            </a:xfrm>
            <a:custGeom>
              <a:avLst/>
              <a:gdLst>
                <a:gd name="connsiteX0" fmla="*/ 66824 w 380638"/>
                <a:gd name="connsiteY0" fmla="*/ 22354 h 135848"/>
                <a:gd name="connsiteX1" fmla="*/ 24137 w 380638"/>
                <a:gd name="connsiteY1" fmla="*/ 69056 h 135848"/>
                <a:gd name="connsiteX2" fmla="*/ 66824 w 380638"/>
                <a:gd name="connsiteY2" fmla="*/ 113344 h 135848"/>
                <a:gd name="connsiteX3" fmla="*/ 109327 w 380638"/>
                <a:gd name="connsiteY3" fmla="*/ 68872 h 135848"/>
                <a:gd name="connsiteX4" fmla="*/ 66824 w 380638"/>
                <a:gd name="connsiteY4" fmla="*/ 22354 h 135848"/>
                <a:gd name="connsiteX5" fmla="*/ 283388 w 380638"/>
                <a:gd name="connsiteY5" fmla="*/ 2616 h 135848"/>
                <a:gd name="connsiteX6" fmla="*/ 380638 w 380638"/>
                <a:gd name="connsiteY6" fmla="*/ 2616 h 135848"/>
                <a:gd name="connsiteX7" fmla="*/ 380638 w 380638"/>
                <a:gd name="connsiteY7" fmla="*/ 26445 h 135848"/>
                <a:gd name="connsiteX8" fmla="*/ 307692 w 380638"/>
                <a:gd name="connsiteY8" fmla="*/ 26445 h 135848"/>
                <a:gd name="connsiteX9" fmla="*/ 307692 w 380638"/>
                <a:gd name="connsiteY9" fmla="*/ 56395 h 135848"/>
                <a:gd name="connsiteX10" fmla="*/ 378029 w 380638"/>
                <a:gd name="connsiteY10" fmla="*/ 56395 h 135848"/>
                <a:gd name="connsiteX11" fmla="*/ 378029 w 380638"/>
                <a:gd name="connsiteY11" fmla="*/ 79285 h 135848"/>
                <a:gd name="connsiteX12" fmla="*/ 307692 w 380638"/>
                <a:gd name="connsiteY12" fmla="*/ 79285 h 135848"/>
                <a:gd name="connsiteX13" fmla="*/ 307692 w 380638"/>
                <a:gd name="connsiteY13" fmla="*/ 108682 h 135848"/>
                <a:gd name="connsiteX14" fmla="*/ 380638 w 380638"/>
                <a:gd name="connsiteY14" fmla="*/ 108682 h 135848"/>
                <a:gd name="connsiteX15" fmla="*/ 380638 w 380638"/>
                <a:gd name="connsiteY15" fmla="*/ 132880 h 135848"/>
                <a:gd name="connsiteX16" fmla="*/ 283388 w 380638"/>
                <a:gd name="connsiteY16" fmla="*/ 132880 h 135848"/>
                <a:gd name="connsiteX17" fmla="*/ 283388 w 380638"/>
                <a:gd name="connsiteY17" fmla="*/ 2616 h 135848"/>
                <a:gd name="connsiteX18" fmla="*/ 236803 w 380638"/>
                <a:gd name="connsiteY18" fmla="*/ 2432 h 135848"/>
                <a:gd name="connsiteX19" fmla="*/ 261308 w 380638"/>
                <a:gd name="connsiteY19" fmla="*/ 2432 h 135848"/>
                <a:gd name="connsiteX20" fmla="*/ 261308 w 380638"/>
                <a:gd name="connsiteY20" fmla="*/ 132881 h 135848"/>
                <a:gd name="connsiteX21" fmla="*/ 246087 w 380638"/>
                <a:gd name="connsiteY21" fmla="*/ 132881 h 135848"/>
                <a:gd name="connsiteX22" fmla="*/ 246087 w 380638"/>
                <a:gd name="connsiteY22" fmla="*/ 133065 h 135848"/>
                <a:gd name="connsiteX23" fmla="*/ 177774 w 380638"/>
                <a:gd name="connsiteY23" fmla="*/ 45043 h 135848"/>
                <a:gd name="connsiteX24" fmla="*/ 177774 w 380638"/>
                <a:gd name="connsiteY24" fmla="*/ 132881 h 135848"/>
                <a:gd name="connsiteX25" fmla="*/ 153269 w 380638"/>
                <a:gd name="connsiteY25" fmla="*/ 132881 h 135848"/>
                <a:gd name="connsiteX26" fmla="*/ 153269 w 380638"/>
                <a:gd name="connsiteY26" fmla="*/ 2616 h 135848"/>
                <a:gd name="connsiteX27" fmla="*/ 173141 w 380638"/>
                <a:gd name="connsiteY27" fmla="*/ 2616 h 135848"/>
                <a:gd name="connsiteX28" fmla="*/ 236803 w 380638"/>
                <a:gd name="connsiteY28" fmla="*/ 83378 h 135848"/>
                <a:gd name="connsiteX29" fmla="*/ 66807 w 380638"/>
                <a:gd name="connsiteY29" fmla="*/ 0 h 135848"/>
                <a:gd name="connsiteX30" fmla="*/ 133447 w 380638"/>
                <a:gd name="connsiteY30" fmla="*/ 68486 h 135848"/>
                <a:gd name="connsiteX31" fmla="*/ 66807 w 380638"/>
                <a:gd name="connsiteY31" fmla="*/ 135848 h 135848"/>
                <a:gd name="connsiteX32" fmla="*/ 0 w 380638"/>
                <a:gd name="connsiteY32" fmla="*/ 68670 h 135848"/>
                <a:gd name="connsiteX33" fmla="*/ 66807 w 380638"/>
                <a:gd name="connsiteY33" fmla="*/ 0 h 1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0638" h="135848">
                  <a:moveTo>
                    <a:pt x="66824" y="22354"/>
                  </a:moveTo>
                  <a:cubicBezTo>
                    <a:pt x="36180" y="22354"/>
                    <a:pt x="23568" y="47088"/>
                    <a:pt x="24137" y="69056"/>
                  </a:cubicBezTo>
                  <a:cubicBezTo>
                    <a:pt x="24689" y="90454"/>
                    <a:pt x="36197" y="113344"/>
                    <a:pt x="66824" y="113344"/>
                  </a:cubicBezTo>
                  <a:cubicBezTo>
                    <a:pt x="97451" y="113344"/>
                    <a:pt x="108959" y="90269"/>
                    <a:pt x="109327" y="68872"/>
                  </a:cubicBezTo>
                  <a:cubicBezTo>
                    <a:pt x="109695" y="46904"/>
                    <a:pt x="97451" y="22354"/>
                    <a:pt x="66824" y="22354"/>
                  </a:cubicBezTo>
                  <a:close/>
                  <a:moveTo>
                    <a:pt x="283388" y="2616"/>
                  </a:moveTo>
                  <a:lnTo>
                    <a:pt x="380638" y="2616"/>
                  </a:lnTo>
                  <a:lnTo>
                    <a:pt x="380638" y="26445"/>
                  </a:lnTo>
                  <a:lnTo>
                    <a:pt x="307692" y="26445"/>
                  </a:lnTo>
                  <a:lnTo>
                    <a:pt x="307692" y="56395"/>
                  </a:lnTo>
                  <a:lnTo>
                    <a:pt x="378029" y="56395"/>
                  </a:lnTo>
                  <a:lnTo>
                    <a:pt x="378029" y="79285"/>
                  </a:lnTo>
                  <a:lnTo>
                    <a:pt x="307692" y="79285"/>
                  </a:lnTo>
                  <a:lnTo>
                    <a:pt x="307692" y="108682"/>
                  </a:lnTo>
                  <a:lnTo>
                    <a:pt x="380638" y="108682"/>
                  </a:lnTo>
                  <a:lnTo>
                    <a:pt x="380638" y="132880"/>
                  </a:lnTo>
                  <a:lnTo>
                    <a:pt x="283388" y="132880"/>
                  </a:lnTo>
                  <a:cubicBezTo>
                    <a:pt x="283388" y="89531"/>
                    <a:pt x="283388" y="45982"/>
                    <a:pt x="283388" y="2616"/>
                  </a:cubicBezTo>
                  <a:close/>
                  <a:moveTo>
                    <a:pt x="236803" y="2432"/>
                  </a:moveTo>
                  <a:lnTo>
                    <a:pt x="261308" y="2432"/>
                  </a:lnTo>
                  <a:lnTo>
                    <a:pt x="261308" y="132881"/>
                  </a:lnTo>
                  <a:lnTo>
                    <a:pt x="246087" y="132881"/>
                  </a:lnTo>
                  <a:lnTo>
                    <a:pt x="246087" y="133065"/>
                  </a:lnTo>
                  <a:lnTo>
                    <a:pt x="177774" y="45043"/>
                  </a:lnTo>
                  <a:lnTo>
                    <a:pt x="177774" y="132881"/>
                  </a:lnTo>
                  <a:lnTo>
                    <a:pt x="153269" y="132881"/>
                  </a:lnTo>
                  <a:lnTo>
                    <a:pt x="153269" y="2616"/>
                  </a:lnTo>
                  <a:lnTo>
                    <a:pt x="173141" y="2616"/>
                  </a:lnTo>
                  <a:lnTo>
                    <a:pt x="236803" y="83378"/>
                  </a:lnTo>
                  <a:close/>
                  <a:moveTo>
                    <a:pt x="66807" y="0"/>
                  </a:moveTo>
                  <a:cubicBezTo>
                    <a:pt x="111552" y="17"/>
                    <a:pt x="133832" y="34444"/>
                    <a:pt x="133447" y="68486"/>
                  </a:cubicBezTo>
                  <a:cubicBezTo>
                    <a:pt x="133079" y="102159"/>
                    <a:pt x="112472" y="135848"/>
                    <a:pt x="66807" y="135848"/>
                  </a:cubicBezTo>
                  <a:cubicBezTo>
                    <a:pt x="21143" y="135848"/>
                    <a:pt x="0" y="102913"/>
                    <a:pt x="0" y="68670"/>
                  </a:cubicBezTo>
                  <a:cubicBezTo>
                    <a:pt x="0" y="34428"/>
                    <a:pt x="21896" y="0"/>
                    <a:pt x="66807" y="0"/>
                  </a:cubicBezTo>
                  <a:close/>
                </a:path>
              </a:pathLst>
            </a:custGeom>
            <a:solidFill>
              <a:srgbClr val="00A099"/>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sp>
          <p:nvSpPr>
            <p:cNvPr id="27" name="TM">
              <a:extLst>
                <a:ext uri="{FF2B5EF4-FFF2-40B4-BE49-F238E27FC236}">
                  <a16:creationId xmlns:a16="http://schemas.microsoft.com/office/drawing/2014/main" id="{A7898688-1D64-1290-CA4E-2BC6B5C9EFC0}"/>
                </a:ext>
              </a:extLst>
            </p:cNvPr>
            <p:cNvSpPr/>
            <p:nvPr/>
          </p:nvSpPr>
          <p:spPr>
            <a:xfrm>
              <a:off x="1355844" y="1066734"/>
              <a:ext cx="83183" cy="43097"/>
            </a:xfrm>
            <a:custGeom>
              <a:avLst/>
              <a:gdLst>
                <a:gd name="connsiteX0" fmla="*/ 38924 w 83183"/>
                <a:gd name="connsiteY0" fmla="*/ 0 h 43097"/>
                <a:gd name="connsiteX1" fmla="*/ 48826 w 83183"/>
                <a:gd name="connsiteY1" fmla="*/ 0 h 43097"/>
                <a:gd name="connsiteX2" fmla="*/ 60769 w 83183"/>
                <a:gd name="connsiteY2" fmla="*/ 34276 h 43097"/>
                <a:gd name="connsiteX3" fmla="*/ 60953 w 83183"/>
                <a:gd name="connsiteY3" fmla="*/ 34276 h 43097"/>
                <a:gd name="connsiteX4" fmla="*/ 73248 w 83183"/>
                <a:gd name="connsiteY4" fmla="*/ 0 h 43097"/>
                <a:gd name="connsiteX5" fmla="*/ 83183 w 83183"/>
                <a:gd name="connsiteY5" fmla="*/ 0 h 43097"/>
                <a:gd name="connsiteX6" fmla="*/ 83183 w 83183"/>
                <a:gd name="connsiteY6" fmla="*/ 43097 h 43097"/>
                <a:gd name="connsiteX7" fmla="*/ 76392 w 83183"/>
                <a:gd name="connsiteY7" fmla="*/ 43097 h 43097"/>
                <a:gd name="connsiteX8" fmla="*/ 76392 w 83183"/>
                <a:gd name="connsiteY8" fmla="*/ 21783 h 43097"/>
                <a:gd name="connsiteX9" fmla="*/ 76559 w 83183"/>
                <a:gd name="connsiteY9" fmla="*/ 13416 h 43097"/>
                <a:gd name="connsiteX10" fmla="*/ 76844 w 83183"/>
                <a:gd name="connsiteY10" fmla="*/ 7161 h 43097"/>
                <a:gd name="connsiteX11" fmla="*/ 76610 w 83183"/>
                <a:gd name="connsiteY11" fmla="*/ 7161 h 43097"/>
                <a:gd name="connsiteX12" fmla="*/ 63696 w 83183"/>
                <a:gd name="connsiteY12" fmla="*/ 43097 h 43097"/>
                <a:gd name="connsiteX13" fmla="*/ 57491 w 83183"/>
                <a:gd name="connsiteY13" fmla="*/ 43097 h 43097"/>
                <a:gd name="connsiteX14" fmla="*/ 45029 w 83183"/>
                <a:gd name="connsiteY14" fmla="*/ 7110 h 43097"/>
                <a:gd name="connsiteX15" fmla="*/ 44795 w 83183"/>
                <a:gd name="connsiteY15" fmla="*/ 7110 h 43097"/>
                <a:gd name="connsiteX16" fmla="*/ 45297 w 83183"/>
                <a:gd name="connsiteY16" fmla="*/ 22136 h 43097"/>
                <a:gd name="connsiteX17" fmla="*/ 45297 w 83183"/>
                <a:gd name="connsiteY17" fmla="*/ 43097 h 43097"/>
                <a:gd name="connsiteX18" fmla="*/ 38924 w 83183"/>
                <a:gd name="connsiteY18" fmla="*/ 43097 h 43097"/>
                <a:gd name="connsiteX19" fmla="*/ 0 w 83183"/>
                <a:gd name="connsiteY19" fmla="*/ 0 h 43097"/>
                <a:gd name="connsiteX20" fmla="*/ 32316 w 83183"/>
                <a:gd name="connsiteY20" fmla="*/ 0 h 43097"/>
                <a:gd name="connsiteX21" fmla="*/ 32316 w 83183"/>
                <a:gd name="connsiteY21" fmla="*/ 6037 h 43097"/>
                <a:gd name="connsiteX22" fmla="*/ 19671 w 83183"/>
                <a:gd name="connsiteY22" fmla="*/ 6037 h 43097"/>
                <a:gd name="connsiteX23" fmla="*/ 19671 w 83183"/>
                <a:gd name="connsiteY23" fmla="*/ 43097 h 43097"/>
                <a:gd name="connsiteX24" fmla="*/ 12645 w 83183"/>
                <a:gd name="connsiteY24" fmla="*/ 43097 h 43097"/>
                <a:gd name="connsiteX25" fmla="*/ 12645 w 83183"/>
                <a:gd name="connsiteY25" fmla="*/ 6037 h 43097"/>
                <a:gd name="connsiteX26" fmla="*/ 0 w 83183"/>
                <a:gd name="connsiteY26" fmla="*/ 6037 h 4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183" h="43097">
                  <a:moveTo>
                    <a:pt x="38924" y="0"/>
                  </a:moveTo>
                  <a:lnTo>
                    <a:pt x="48826" y="0"/>
                  </a:lnTo>
                  <a:lnTo>
                    <a:pt x="60769" y="34276"/>
                  </a:lnTo>
                  <a:lnTo>
                    <a:pt x="60953" y="34276"/>
                  </a:lnTo>
                  <a:lnTo>
                    <a:pt x="73248" y="0"/>
                  </a:lnTo>
                  <a:lnTo>
                    <a:pt x="83183" y="0"/>
                  </a:lnTo>
                  <a:lnTo>
                    <a:pt x="83183" y="43097"/>
                  </a:lnTo>
                  <a:lnTo>
                    <a:pt x="76392" y="43097"/>
                  </a:lnTo>
                  <a:lnTo>
                    <a:pt x="76392" y="21783"/>
                  </a:lnTo>
                  <a:cubicBezTo>
                    <a:pt x="76392" y="19637"/>
                    <a:pt x="76442" y="16853"/>
                    <a:pt x="76559" y="13416"/>
                  </a:cubicBezTo>
                  <a:cubicBezTo>
                    <a:pt x="76660" y="9978"/>
                    <a:pt x="76760" y="7898"/>
                    <a:pt x="76844" y="7161"/>
                  </a:cubicBezTo>
                  <a:lnTo>
                    <a:pt x="76610" y="7161"/>
                  </a:lnTo>
                  <a:lnTo>
                    <a:pt x="63696" y="43097"/>
                  </a:lnTo>
                  <a:lnTo>
                    <a:pt x="57491" y="43097"/>
                  </a:lnTo>
                  <a:lnTo>
                    <a:pt x="45029" y="7110"/>
                  </a:lnTo>
                  <a:lnTo>
                    <a:pt x="44795" y="7110"/>
                  </a:lnTo>
                  <a:cubicBezTo>
                    <a:pt x="45130" y="12460"/>
                    <a:pt x="45297" y="17474"/>
                    <a:pt x="45297" y="22136"/>
                  </a:cubicBezTo>
                  <a:lnTo>
                    <a:pt x="45297" y="43097"/>
                  </a:lnTo>
                  <a:lnTo>
                    <a:pt x="38924" y="43097"/>
                  </a:lnTo>
                  <a:close/>
                  <a:moveTo>
                    <a:pt x="0" y="0"/>
                  </a:moveTo>
                  <a:lnTo>
                    <a:pt x="32316" y="0"/>
                  </a:lnTo>
                  <a:lnTo>
                    <a:pt x="32316" y="6037"/>
                  </a:lnTo>
                  <a:lnTo>
                    <a:pt x="19671" y="6037"/>
                  </a:lnTo>
                  <a:lnTo>
                    <a:pt x="19671" y="43097"/>
                  </a:lnTo>
                  <a:lnTo>
                    <a:pt x="12645" y="43097"/>
                  </a:lnTo>
                  <a:lnTo>
                    <a:pt x="12645" y="6037"/>
                  </a:lnTo>
                  <a:lnTo>
                    <a:pt x="0" y="6037"/>
                  </a:lnTo>
                  <a:close/>
                </a:path>
              </a:pathLst>
            </a:custGeom>
            <a:solidFill>
              <a:schemeClr val="bg1"/>
            </a:solidFill>
            <a:ln w="9513" cap="flat">
              <a:noFill/>
              <a:prstDash val="solid"/>
              <a:miter/>
            </a:ln>
          </p:spPr>
          <p:txBody>
            <a:bodyPr wrap="square" rtlCol="0" anchor="ctr">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555"/>
                </a:solidFill>
                <a:effectLst/>
                <a:uLnTx/>
                <a:uFillTx/>
                <a:latin typeface="Nexa Book" panose="00000400000000000000" pitchFamily="50" charset="0"/>
                <a:ea typeface="+mn-ea"/>
                <a:cs typeface="+mn-cs"/>
              </a:endParaRPr>
            </a:p>
          </p:txBody>
        </p:sp>
      </p:grpSp>
    </p:spTree>
    <p:extLst>
      <p:ext uri="{BB962C8B-B14F-4D97-AF65-F5344CB8AC3E}">
        <p14:creationId xmlns:p14="http://schemas.microsoft.com/office/powerpoint/2010/main" val="3791889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148772-0BF5-1E02-58B0-99F31D8D723F}"/>
              </a:ext>
            </a:extLst>
          </p:cNvPr>
          <p:cNvGraphicFramePr>
            <a:graphicFrameLocks noChangeAspect="1"/>
          </p:cNvGraphicFramePr>
          <p:nvPr>
            <p:custDataLst>
              <p:tags r:id="rId1"/>
            </p:custDataLst>
            <p:extLst>
              <p:ext uri="{D42A27DB-BD31-4B8C-83A1-F6EECF244321}">
                <p14:modId xmlns:p14="http://schemas.microsoft.com/office/powerpoint/2010/main" val="355321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43148772-0BF5-1E02-58B0-99F31D8D72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153E8F8-C725-490B-A2BB-18588F7B4ACF}"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3B4D06EA-9248-7E33-6EEF-BE8D97AB2EB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84683759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T Text/Sourc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542F80E-F3C1-584F-6B07-DFBDDB4AE8B8}"/>
              </a:ext>
            </a:extLst>
          </p:cNvPr>
          <p:cNvGraphicFramePr>
            <a:graphicFrameLocks noChangeAspect="1"/>
          </p:cNvGraphicFramePr>
          <p:nvPr>
            <p:custDataLst>
              <p:tags r:id="rId1"/>
            </p:custDataLst>
            <p:extLst>
              <p:ext uri="{D42A27DB-BD31-4B8C-83A1-F6EECF244321}">
                <p14:modId xmlns:p14="http://schemas.microsoft.com/office/powerpoint/2010/main" val="2499369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2542F80E-F3C1-584F-6B07-DFBDDB4AE8B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B164E6A2-227B-438D-8602-2BE83213BCB8}"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4000" y="1134000"/>
            <a:ext cx="8136000"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itle 3">
            <a:extLst>
              <a:ext uri="{FF2B5EF4-FFF2-40B4-BE49-F238E27FC236}">
                <a16:creationId xmlns:a16="http://schemas.microsoft.com/office/drawing/2014/main" id="{F0307D88-F0A0-9419-DEBD-67A5FA2CC880}"/>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9900963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T 2 Sub titles/ Sourc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FD4D50C-AABA-C605-1A81-21A2DD10111B}"/>
              </a:ext>
            </a:extLst>
          </p:cNvPr>
          <p:cNvGraphicFramePr>
            <a:graphicFrameLocks noChangeAspect="1"/>
          </p:cNvGraphicFramePr>
          <p:nvPr>
            <p:custDataLst>
              <p:tags r:id="rId1"/>
            </p:custDataLst>
            <p:extLst>
              <p:ext uri="{D42A27DB-BD31-4B8C-83A1-F6EECF244321}">
                <p14:modId xmlns:p14="http://schemas.microsoft.com/office/powerpoint/2010/main" val="2162439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BFD4D50C-AABA-C605-1A81-21A2DD10111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5E6583AB-8E60-4A4E-ADAC-A952AD7E92D3}"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D6C689B5-63F1-4457-8459-D2624485FA92}"/>
              </a:ext>
            </a:extLst>
          </p:cNvPr>
          <p:cNvSpPr>
            <a:spLocks noGrp="1"/>
          </p:cNvSpPr>
          <p:nvPr>
            <p:ph type="body" sz="quarter" idx="13" hasCustomPrompt="1"/>
          </p:nvPr>
        </p:nvSpPr>
        <p:spPr>
          <a:xfrm>
            <a:off x="0" y="4732276"/>
            <a:ext cx="4572000" cy="224534"/>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2" y="774000"/>
            <a:ext cx="4031998"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2" name="Title 1">
            <a:extLst>
              <a:ext uri="{FF2B5EF4-FFF2-40B4-BE49-F238E27FC236}">
                <a16:creationId xmlns:a16="http://schemas.microsoft.com/office/drawing/2014/main" id="{17610FA4-D41F-F979-2D1D-59BF59062A8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397464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T 2 Sub titles">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941F096-F730-5B73-E186-18C5F9975B01}"/>
              </a:ext>
            </a:extLst>
          </p:cNvPr>
          <p:cNvGraphicFramePr>
            <a:graphicFrameLocks noChangeAspect="1"/>
          </p:cNvGraphicFramePr>
          <p:nvPr>
            <p:custDataLst>
              <p:tags r:id="rId1"/>
            </p:custDataLst>
            <p:extLst>
              <p:ext uri="{D42A27DB-BD31-4B8C-83A1-F6EECF244321}">
                <p14:modId xmlns:p14="http://schemas.microsoft.com/office/powerpoint/2010/main" val="317616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1941F096-F730-5B73-E186-18C5F9975B0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F0C12ED-7BE9-4C80-94EE-FFFC04096FE6}"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err="1"/>
              <a:t>Subtitle</a:t>
            </a:r>
            <a:r>
              <a:rPr lang="nl-NL"/>
              <a:t> | Chart </a:t>
            </a:r>
            <a:r>
              <a:rPr lang="nl-NL" err="1"/>
              <a:t>Title</a:t>
            </a:r>
            <a:endParaRPr lang="nl-NL"/>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8" name="Title 7">
            <a:extLst>
              <a:ext uri="{FF2B5EF4-FFF2-40B4-BE49-F238E27FC236}">
                <a16:creationId xmlns:a16="http://schemas.microsoft.com/office/drawing/2014/main" id="{012D25DA-55A6-9DB1-4EA0-E73432358A0E}"/>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24874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T 2 Columns/ Sourc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1715C66-39CE-9441-3F82-9654406DF4C7}"/>
              </a:ext>
            </a:extLst>
          </p:cNvPr>
          <p:cNvGraphicFramePr>
            <a:graphicFrameLocks noChangeAspect="1"/>
          </p:cNvGraphicFramePr>
          <p:nvPr>
            <p:custDataLst>
              <p:tags r:id="rId1"/>
            </p:custDataLst>
            <p:extLst>
              <p:ext uri="{D42A27DB-BD31-4B8C-83A1-F6EECF244321}">
                <p14:modId xmlns:p14="http://schemas.microsoft.com/office/powerpoint/2010/main" val="8764141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E1715C66-39CE-9441-3F82-9654406DF4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E4CAD5E5-A41D-49C7-A105-BB809A85D722}"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9" name="Title 8">
            <a:extLst>
              <a:ext uri="{FF2B5EF4-FFF2-40B4-BE49-F238E27FC236}">
                <a16:creationId xmlns:a16="http://schemas.microsoft.com/office/drawing/2014/main" id="{E3FEC9D1-1732-E208-C95E-F5492C24DE7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07318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T 2 Columns">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5A14009-E1C1-90C5-0C54-74F4F15B0F6A}"/>
              </a:ext>
            </a:extLst>
          </p:cNvPr>
          <p:cNvGraphicFramePr>
            <a:graphicFrameLocks noChangeAspect="1"/>
          </p:cNvGraphicFramePr>
          <p:nvPr>
            <p:custDataLst>
              <p:tags r:id="rId1"/>
            </p:custDataLst>
            <p:extLst>
              <p:ext uri="{D42A27DB-BD31-4B8C-83A1-F6EECF244321}">
                <p14:modId xmlns:p14="http://schemas.microsoft.com/office/powerpoint/2010/main" val="81180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65A14009-E1C1-90C5-0C54-74F4F15B0F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10" cy="171450"/>
          </a:xfrm>
          <a:prstGeom prst="rect">
            <a:avLst/>
          </a:prstGeom>
        </p:spPr>
        <p:txBody>
          <a:bodyPr/>
          <a:lstStyle>
            <a:lvl1pPr>
              <a:defRPr b="0" i="0">
                <a:latin typeface="Nexa Book" panose="00000400000000000000" pitchFamily="50" charset="0"/>
              </a:defRPr>
            </a:lvl1pPr>
          </a:lstStyle>
          <a:p>
            <a:fld id="{3CC7FAB7-0A3F-426C-810A-90CBD5D51450}"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ight Subtitle">
            <a:extLst>
              <a:ext uri="{FF2B5EF4-FFF2-40B4-BE49-F238E27FC236}">
                <a16:creationId xmlns:a16="http://schemas.microsoft.com/office/drawing/2014/main" id="{39951190-451A-4B42-A8A2-F11EA06261AC}"/>
              </a:ext>
            </a:extLst>
          </p:cNvPr>
          <p:cNvSpPr>
            <a:spLocks noGrp="1"/>
          </p:cNvSpPr>
          <p:nvPr>
            <p:ph type="body" sz="quarter" idx="3" hasCustomPrompt="1"/>
          </p:nvPr>
        </p:nvSpPr>
        <p:spPr>
          <a:xfrm>
            <a:off x="4608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nl-NL"/>
              <a:t>Subtitle | Chart Title</a:t>
            </a:r>
          </a:p>
        </p:txBody>
      </p:sp>
      <p:sp>
        <p:nvSpPr>
          <p:cNvPr id="3" name="Left Subtitle">
            <a:extLst>
              <a:ext uri="{FF2B5EF4-FFF2-40B4-BE49-F238E27FC236}">
                <a16:creationId xmlns:a16="http://schemas.microsoft.com/office/drawing/2014/main" id="{65651D0F-BA51-4C81-B738-BFACFD29E4C2}"/>
              </a:ext>
            </a:extLst>
          </p:cNvPr>
          <p:cNvSpPr>
            <a:spLocks noGrp="1"/>
          </p:cNvSpPr>
          <p:nvPr>
            <p:ph type="body" idx="1" hasCustomPrompt="1"/>
          </p:nvPr>
        </p:nvSpPr>
        <p:spPr>
          <a:xfrm>
            <a:off x="504000" y="774000"/>
            <a:ext cx="4032000" cy="360000"/>
          </a:xfrm>
          <a:prstGeom prst="rect">
            <a:avLst/>
          </a:prstGeom>
        </p:spPr>
        <p:txBody>
          <a:bodyPr tIns="36000" bIns="36000" anchor="t">
            <a:noAutofit/>
          </a:bodyPr>
          <a:lstStyle>
            <a:lvl1pPr marL="0" indent="0">
              <a:spcBef>
                <a:spcPts val="0"/>
              </a:spcBef>
              <a:buNone/>
              <a:defRPr sz="1200" b="0" i="0">
                <a:solidFill>
                  <a:schemeClr val="tx2"/>
                </a:solidFill>
                <a:latin typeface="+mj-lt"/>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nl-NL"/>
              <a:t>Subtitle | Chart Title</a:t>
            </a:r>
          </a:p>
        </p:txBody>
      </p:sp>
      <p:sp>
        <p:nvSpPr>
          <p:cNvPr id="2" name="Title 1">
            <a:extLst>
              <a:ext uri="{FF2B5EF4-FFF2-40B4-BE49-F238E27FC236}">
                <a16:creationId xmlns:a16="http://schemas.microsoft.com/office/drawing/2014/main" id="{FF690741-00A6-F2BD-9C6A-C0256DD21506}"/>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576338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T 2 Columns/ Source/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4710FD5-836F-7C9E-1C9C-C5CD2E1C78DF}"/>
              </a:ext>
            </a:extLst>
          </p:cNvPr>
          <p:cNvGraphicFramePr>
            <a:graphicFrameLocks noChangeAspect="1"/>
          </p:cNvGraphicFramePr>
          <p:nvPr>
            <p:custDataLst>
              <p:tags r:id="rId1"/>
            </p:custDataLst>
            <p:extLst>
              <p:ext uri="{D42A27DB-BD31-4B8C-83A1-F6EECF244321}">
                <p14:modId xmlns:p14="http://schemas.microsoft.com/office/powerpoint/2010/main" val="3228806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84710FD5-836F-7C9E-1C9C-C5CD2E1C78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DC05B939-E4D8-4036-AFC5-12B85E4BA477}"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3" name="Data Source">
            <a:extLst>
              <a:ext uri="{FF2B5EF4-FFF2-40B4-BE49-F238E27FC236}">
                <a16:creationId xmlns:a16="http://schemas.microsoft.com/office/drawing/2014/main" id="{F2D8149A-679A-412A-BA2D-C1CAE910F74B}"/>
              </a:ext>
            </a:extLst>
          </p:cNvPr>
          <p:cNvSpPr>
            <a:spLocks noGrp="1"/>
          </p:cNvSpPr>
          <p:nvPr>
            <p:ph type="body" sz="quarter" idx="15"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E4B73869-184A-9E62-0474-1A4A634D86B3}"/>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615793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T 2 Columns/ No S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6975BCC-FC7A-107D-0B4F-07F557ED6F1D}"/>
              </a:ext>
            </a:extLst>
          </p:cNvPr>
          <p:cNvGraphicFramePr>
            <a:graphicFrameLocks noChangeAspect="1"/>
          </p:cNvGraphicFramePr>
          <p:nvPr>
            <p:custDataLst>
              <p:tags r:id="rId1"/>
            </p:custDataLst>
            <p:extLst>
              <p:ext uri="{D42A27DB-BD31-4B8C-83A1-F6EECF244321}">
                <p14:modId xmlns:p14="http://schemas.microsoft.com/office/powerpoint/2010/main" val="3563401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6975BCC-FC7A-107D-0B4F-07F557ED6F1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Date Placeholder 5">
            <a:extLst>
              <a:ext uri="{FF2B5EF4-FFF2-40B4-BE49-F238E27FC236}">
                <a16:creationId xmlns:a16="http://schemas.microsoft.com/office/drawing/2014/main" id="{DEDA0EC8-F9FE-4FC5-A730-AE02EED57730}"/>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A091353-1AD6-4727-A2AB-36EE75081A64}" type="datetime1">
              <a:rPr lang="en-US" smtClean="0"/>
              <a:t>9/14/2025</a:t>
            </a:fld>
            <a:endParaRPr lang="en-US"/>
          </a:p>
        </p:txBody>
      </p:sp>
      <p:sp>
        <p:nvSpPr>
          <p:cNvPr id="7" name="Footer Placeholder 6">
            <a:extLst>
              <a:ext uri="{FF2B5EF4-FFF2-40B4-BE49-F238E27FC236}">
                <a16:creationId xmlns:a16="http://schemas.microsoft.com/office/drawing/2014/main" id="{0F1D1D10-1F55-4239-A5D7-6AF8F00C0957}"/>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CC9587F1-F816-4162-8D22-82FC169252D1}"/>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1" name="Right Content Placeholder">
            <a:extLst>
              <a:ext uri="{FF2B5EF4-FFF2-40B4-BE49-F238E27FC236}">
                <a16:creationId xmlns:a16="http://schemas.microsoft.com/office/drawing/2014/main" id="{3AEFD6AC-7733-4DD0-B6CE-03371ED148E7}"/>
              </a:ext>
            </a:extLst>
          </p:cNvPr>
          <p:cNvSpPr>
            <a:spLocks noGrp="1"/>
          </p:cNvSpPr>
          <p:nvPr>
            <p:ph sz="quarter" idx="14"/>
          </p:nvPr>
        </p:nvSpPr>
        <p:spPr>
          <a:xfrm>
            <a:off x="4608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eft Content Placeholder">
            <a:extLst>
              <a:ext uri="{FF2B5EF4-FFF2-40B4-BE49-F238E27FC236}">
                <a16:creationId xmlns:a16="http://schemas.microsoft.com/office/drawing/2014/main" id="{31A85E9B-5B82-475D-BED2-829110936A53}"/>
              </a:ext>
            </a:extLst>
          </p:cNvPr>
          <p:cNvSpPr>
            <a:spLocks noGrp="1"/>
          </p:cNvSpPr>
          <p:nvPr>
            <p:ph sz="quarter" idx="13"/>
          </p:nvPr>
        </p:nvSpPr>
        <p:spPr>
          <a:xfrm>
            <a:off x="504000" y="1134000"/>
            <a:ext cx="4032000" cy="3600000"/>
          </a:xfrm>
          <a:prstGeom prst="rect">
            <a:avLst/>
          </a:prstGeom>
        </p:spPr>
        <p:txBody>
          <a:bodyPr/>
          <a:lstStyle>
            <a:lvl1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1pPr>
            <a:lvl2pPr>
              <a:defRPr sz="10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2pPr>
            <a:lvl3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3pPr>
            <a:lvl4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4pPr>
            <a:lvl5pPr>
              <a:defRPr sz="800" b="0" i="0">
                <a:solidFill>
                  <a:schemeClr val="tx1"/>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E03B4F8-718E-5713-E3D6-A738A5D12082}"/>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696864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T Lee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4E33F2-047D-1CB5-FCEE-A9A6CF3C5ED9}"/>
              </a:ext>
            </a:extLst>
          </p:cNvPr>
          <p:cNvGraphicFramePr>
            <a:graphicFrameLocks noChangeAspect="1"/>
          </p:cNvGraphicFramePr>
          <p:nvPr>
            <p:custDataLst>
              <p:tags r:id="rId1"/>
            </p:custDataLst>
            <p:extLst>
              <p:ext uri="{D42A27DB-BD31-4B8C-83A1-F6EECF244321}">
                <p14:modId xmlns:p14="http://schemas.microsoft.com/office/powerpoint/2010/main" val="34689677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14E33F2-047D-1CB5-FCEE-A9A6CF3C5E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99AB901B-120C-433B-873B-BA9E3471B4E5}"/>
              </a:ext>
            </a:extLst>
          </p:cNvPr>
          <p:cNvSpPr>
            <a:spLocks noGrp="1"/>
          </p:cNvSpPr>
          <p:nvPr>
            <p:ph type="dt" sz="half" idx="10"/>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882BA3E0-7D23-4C20-89C0-E27F55EEA54B}" type="datetime1">
              <a:rPr lang="en-US" smtClean="0"/>
              <a:t>9/14/2025</a:t>
            </a:fld>
            <a:endParaRPr lang="en-US"/>
          </a:p>
        </p:txBody>
      </p:sp>
      <p:sp>
        <p:nvSpPr>
          <p:cNvPr id="9" name="Footer Placeholder 8">
            <a:extLst>
              <a:ext uri="{FF2B5EF4-FFF2-40B4-BE49-F238E27FC236}">
                <a16:creationId xmlns:a16="http://schemas.microsoft.com/office/drawing/2014/main" id="{6B3528C8-57F1-4D28-B56B-C486315A9C81}"/>
              </a:ext>
            </a:extLst>
          </p:cNvPr>
          <p:cNvSpPr>
            <a:spLocks noGrp="1"/>
          </p:cNvSpPr>
          <p:nvPr>
            <p:ph type="ftr" sz="quarter" idx="11"/>
          </p:nvPr>
        </p:nvSpPr>
        <p:spPr/>
        <p:txBody>
          <a:bodyPr/>
          <a:lstStyle>
            <a:lvl1pPr>
              <a:defRPr b="0" i="0">
                <a:latin typeface="Nexa Book" panose="00000400000000000000" pitchFamily="50" charset="0"/>
              </a:defRPr>
            </a:lvl1pPr>
          </a:lstStyle>
          <a:p>
            <a:endParaRPr lang="en-US"/>
          </a:p>
        </p:txBody>
      </p:sp>
      <p:sp>
        <p:nvSpPr>
          <p:cNvPr id="10" name="Slide Number Placeholder 9">
            <a:extLst>
              <a:ext uri="{FF2B5EF4-FFF2-40B4-BE49-F238E27FC236}">
                <a16:creationId xmlns:a16="http://schemas.microsoft.com/office/drawing/2014/main" id="{D79AAD6F-11A3-402B-BFFF-2AF526794684}"/>
              </a:ext>
            </a:extLst>
          </p:cNvPr>
          <p:cNvSpPr>
            <a:spLocks noGrp="1"/>
          </p:cNvSpPr>
          <p:nvPr>
            <p:ph type="sldNum" sz="quarter" idx="12"/>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19626175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6FB1FF-273C-42A2-4664-7B0B002FFA63}"/>
              </a:ext>
            </a:extLst>
          </p:cNvPr>
          <p:cNvGraphicFramePr>
            <a:graphicFrameLocks noChangeAspect="1"/>
          </p:cNvGraphicFramePr>
          <p:nvPr>
            <p:custDataLst>
              <p:tags r:id="rId1"/>
            </p:custDataLst>
            <p:extLst>
              <p:ext uri="{D42A27DB-BD31-4B8C-83A1-F6EECF244321}">
                <p14:modId xmlns:p14="http://schemas.microsoft.com/office/powerpoint/2010/main" val="1738845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366FB1FF-273C-42A2-4664-7B0B002FFA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CC017E72-85C1-CD87-3F41-DDEBB8A8A367}"/>
              </a:ext>
            </a:extLst>
          </p:cNvPr>
          <p:cNvSpPr>
            <a:spLocks noGrp="1"/>
          </p:cNvSpPr>
          <p:nvPr>
            <p:ph type="dt" sz="half" idx="10"/>
          </p:nvPr>
        </p:nvSpPr>
        <p:spPr>
          <a:xfrm>
            <a:off x="8082390" y="4972050"/>
            <a:ext cx="557609" cy="171450"/>
          </a:xfrm>
          <a:prstGeom prst="rect">
            <a:avLst/>
          </a:prstGeom>
        </p:spPr>
        <p:txBody>
          <a:bodyPr/>
          <a:lstStyle>
            <a:lvl1pPr>
              <a:defRPr/>
            </a:lvl1pPr>
          </a:lstStyle>
          <a:p>
            <a:fld id="{C88635C9-C986-4FCC-A78C-2B876475CCA0}" type="datetime1">
              <a:rPr lang="en-US" smtClean="0"/>
              <a:t>9/14/2025</a:t>
            </a:fld>
            <a:endParaRPr lang="en-AE"/>
          </a:p>
        </p:txBody>
      </p:sp>
      <p:sp>
        <p:nvSpPr>
          <p:cNvPr id="6" name="Footer Placeholder 5">
            <a:extLst>
              <a:ext uri="{FF2B5EF4-FFF2-40B4-BE49-F238E27FC236}">
                <a16:creationId xmlns:a16="http://schemas.microsoft.com/office/drawing/2014/main" id="{C21E8EA1-8EE7-C108-BB23-817279C12203}"/>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8B980039-B998-9963-7CB1-1FBF8E33839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88A395F2-96BA-0002-39A0-0AA484583005}"/>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7A415B1-9731-70CC-A37D-212F8A09FA60}"/>
              </a:ext>
            </a:extLst>
          </p:cNvPr>
          <p:cNvSpPr>
            <a:spLocks noGrp="1"/>
          </p:cNvSpPr>
          <p:nvPr>
            <p:ph idx="1"/>
          </p:nvPr>
        </p:nvSpPr>
        <p:spPr>
          <a:xfrm>
            <a:off x="3887788" y="741364"/>
            <a:ext cx="4629150" cy="3654425"/>
          </a:xfrm>
        </p:spPr>
        <p:txBody>
          <a:bodyPr>
            <a:normAutofit/>
          </a:bodyPr>
          <a:lstStyle>
            <a:lvl1pPr>
              <a:defRPr sz="1050" b="0" i="0"/>
            </a:lvl1pPr>
            <a:lvl2pPr>
              <a:defRPr sz="1000" b="0" i="0"/>
            </a:lvl2pPr>
            <a:lvl3pPr>
              <a:defRPr sz="900" b="0" i="0"/>
            </a:lvl3pPr>
            <a:lvl4pPr>
              <a:defRPr sz="800" b="0" i="0"/>
            </a:lvl4pPr>
            <a:lvl5pPr>
              <a:defRPr sz="8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4254E0A9-28A7-65C5-BBBC-D1ED780E85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32000154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T Blank/ Footer">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E6896C-DDB4-5B44-49D7-5F85F211E876}"/>
              </a:ext>
            </a:extLst>
          </p:cNvPr>
          <p:cNvGraphicFramePr>
            <a:graphicFrameLocks noChangeAspect="1"/>
          </p:cNvGraphicFramePr>
          <p:nvPr>
            <p:custDataLst>
              <p:tags r:id="rId1"/>
            </p:custDataLst>
            <p:extLst>
              <p:ext uri="{D42A27DB-BD31-4B8C-83A1-F6EECF244321}">
                <p14:modId xmlns:p14="http://schemas.microsoft.com/office/powerpoint/2010/main" val="1526247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7E6896C-DDB4-5B44-49D7-5F85F211E8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528286-1755-4E94-BF8E-E813592D6D60}"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Tree>
    <p:extLst>
      <p:ext uri="{BB962C8B-B14F-4D97-AF65-F5344CB8AC3E}">
        <p14:creationId xmlns:p14="http://schemas.microsoft.com/office/powerpoint/2010/main" val="65160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D8B2BF-C59A-08C2-B02A-B574BFE2C1C0}"/>
              </a:ext>
            </a:extLst>
          </p:cNvPr>
          <p:cNvGraphicFramePr>
            <a:graphicFrameLocks noChangeAspect="1"/>
          </p:cNvGraphicFramePr>
          <p:nvPr>
            <p:custDataLst>
              <p:tags r:id="rId1"/>
            </p:custDataLst>
            <p:extLst>
              <p:ext uri="{D42A27DB-BD31-4B8C-83A1-F6EECF244321}">
                <p14:modId xmlns:p14="http://schemas.microsoft.com/office/powerpoint/2010/main" val="7717759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D7D8B2BF-C59A-08C2-B02A-B574BFE2C1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9F52D238-6152-C6A6-16D8-77430616F336}"/>
              </a:ext>
            </a:extLst>
          </p:cNvPr>
          <p:cNvSpPr>
            <a:spLocks noGrp="1"/>
          </p:cNvSpPr>
          <p:nvPr>
            <p:ph type="dt" sz="half" idx="10"/>
          </p:nvPr>
        </p:nvSpPr>
        <p:spPr>
          <a:xfrm>
            <a:off x="8082390" y="4972050"/>
            <a:ext cx="557609" cy="171450"/>
          </a:xfrm>
          <a:prstGeom prst="rect">
            <a:avLst/>
          </a:prstGeom>
        </p:spPr>
        <p:txBody>
          <a:bodyPr/>
          <a:lstStyle>
            <a:lvl1pPr>
              <a:defRPr/>
            </a:lvl1pPr>
          </a:lstStyle>
          <a:p>
            <a:fld id="{E931C11D-6280-4641-9503-8E75F01BCCC5}" type="datetime1">
              <a:rPr lang="en-US" smtClean="0"/>
              <a:t>9/14/2025</a:t>
            </a:fld>
            <a:endParaRPr lang="en-AE"/>
          </a:p>
        </p:txBody>
      </p:sp>
      <p:sp>
        <p:nvSpPr>
          <p:cNvPr id="6" name="Footer Placeholder 5">
            <a:extLst>
              <a:ext uri="{FF2B5EF4-FFF2-40B4-BE49-F238E27FC236}">
                <a16:creationId xmlns:a16="http://schemas.microsoft.com/office/drawing/2014/main" id="{DF4D6DBE-7915-B1A0-4334-4E0ADB237F5F}"/>
              </a:ext>
            </a:extLst>
          </p:cNvPr>
          <p:cNvSpPr>
            <a:spLocks noGrp="1"/>
          </p:cNvSpPr>
          <p:nvPr>
            <p:ph type="ftr" sz="quarter" idx="11"/>
          </p:nvPr>
        </p:nvSpPr>
        <p:spPr/>
        <p:txBody>
          <a:bodyPr/>
          <a:lstStyle>
            <a:lvl1pPr>
              <a:defRPr/>
            </a:lvl1pPr>
          </a:lstStyle>
          <a:p>
            <a:endParaRPr lang="en-AE"/>
          </a:p>
        </p:txBody>
      </p:sp>
      <p:sp>
        <p:nvSpPr>
          <p:cNvPr id="7" name="Slide Number Placeholder 6">
            <a:extLst>
              <a:ext uri="{FF2B5EF4-FFF2-40B4-BE49-F238E27FC236}">
                <a16:creationId xmlns:a16="http://schemas.microsoft.com/office/drawing/2014/main" id="{E248B9AE-2BA0-D67A-1AAA-20F9D64EF8FA}"/>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Title 1">
            <a:extLst>
              <a:ext uri="{FF2B5EF4-FFF2-40B4-BE49-F238E27FC236}">
                <a16:creationId xmlns:a16="http://schemas.microsoft.com/office/drawing/2014/main" id="{6B575967-A05B-79E9-45FC-7C8E2130AB72}"/>
              </a:ext>
            </a:extLst>
          </p:cNvPr>
          <p:cNvSpPr>
            <a:spLocks noGrp="1"/>
          </p:cNvSpPr>
          <p:nvPr>
            <p:ph type="title"/>
          </p:nvPr>
        </p:nvSpPr>
        <p:spPr>
          <a:xfrm>
            <a:off x="630239" y="342900"/>
            <a:ext cx="2949575" cy="1200150"/>
          </a:xfrm>
        </p:spPr>
        <p:txBody>
          <a:bodyPr vert="horz" anchor="b">
            <a:noAutofit/>
          </a:bodyPr>
          <a:lstStyle>
            <a:lvl1pPr>
              <a:defRPr sz="16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189CBD82-C1A2-2D67-BFA0-0BF5738B141E}"/>
              </a:ext>
            </a:extLst>
          </p:cNvPr>
          <p:cNvSpPr>
            <a:spLocks noGrp="1"/>
          </p:cNvSpPr>
          <p:nvPr>
            <p:ph type="pic" idx="1"/>
          </p:nvPr>
        </p:nvSpPr>
        <p:spPr>
          <a:xfrm>
            <a:off x="3887788" y="741364"/>
            <a:ext cx="4629150" cy="3654425"/>
          </a:xfrm>
        </p:spPr>
        <p:txBody>
          <a:bodyPr>
            <a:normAutofit/>
          </a:bodyPr>
          <a:lstStyle>
            <a:lvl1pPr marL="0" indent="0">
              <a:buNone/>
              <a:defRPr sz="1000" b="0" i="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E"/>
          </a:p>
        </p:txBody>
      </p:sp>
      <p:sp>
        <p:nvSpPr>
          <p:cNvPr id="4" name="Text Placeholder 3">
            <a:extLst>
              <a:ext uri="{FF2B5EF4-FFF2-40B4-BE49-F238E27FC236}">
                <a16:creationId xmlns:a16="http://schemas.microsoft.com/office/drawing/2014/main" id="{E991480C-B860-64BD-F135-C0F8EA940A76}"/>
              </a:ext>
            </a:extLst>
          </p:cNvPr>
          <p:cNvSpPr>
            <a:spLocks noGrp="1"/>
          </p:cNvSpPr>
          <p:nvPr>
            <p:ph type="body" sz="half" idx="2"/>
          </p:nvPr>
        </p:nvSpPr>
        <p:spPr>
          <a:xfrm>
            <a:off x="630239" y="1543050"/>
            <a:ext cx="2949575" cy="2859088"/>
          </a:xfrm>
        </p:spPr>
        <p:txBody>
          <a:bodyPr>
            <a:normAutofit/>
          </a:bodyPr>
          <a:lstStyle>
            <a:lvl1pPr marL="0" indent="0">
              <a:buNone/>
              <a:defRPr sz="800" b="0" i="0"/>
            </a:lvl1pPr>
            <a:lvl2pPr marL="457189" indent="0">
              <a:buNone/>
              <a:defRPr sz="1400"/>
            </a:lvl2pPr>
            <a:lvl3pPr marL="914378" indent="0">
              <a:buNone/>
              <a:defRPr sz="1200"/>
            </a:lvl3pPr>
            <a:lvl4pPr marL="1371566" indent="0">
              <a:buNone/>
              <a:defRPr sz="1000"/>
            </a:lvl4pPr>
            <a:lvl5pPr marL="1828754" indent="0">
              <a:buNone/>
              <a:defRPr sz="1000"/>
            </a:lvl5pPr>
            <a:lvl6pPr marL="2285943" indent="0">
              <a:buNone/>
              <a:defRPr sz="1000"/>
            </a:lvl6pPr>
            <a:lvl7pPr marL="2743132" indent="0">
              <a:buNone/>
              <a:defRPr sz="1000"/>
            </a:lvl7pPr>
            <a:lvl8pPr marL="3200320" indent="0">
              <a:buNone/>
              <a:defRPr sz="1000"/>
            </a:lvl8pPr>
            <a:lvl9pPr marL="3657509" indent="0">
              <a:buNone/>
              <a:defRPr sz="1000"/>
            </a:lvl9pPr>
          </a:lstStyle>
          <a:p>
            <a:pPr lvl="0"/>
            <a:r>
              <a:rPr lang="en-US"/>
              <a:t>Click to edit Master text styles</a:t>
            </a:r>
          </a:p>
        </p:txBody>
      </p:sp>
    </p:spTree>
    <p:extLst>
      <p:ext uri="{BB962C8B-B14F-4D97-AF65-F5344CB8AC3E}">
        <p14:creationId xmlns:p14="http://schemas.microsoft.com/office/powerpoint/2010/main" val="26262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347BF1-B2EF-DDEE-8367-16C98F629B0C}"/>
              </a:ext>
            </a:extLst>
          </p:cNvPr>
          <p:cNvGraphicFramePr>
            <a:graphicFrameLocks noChangeAspect="1"/>
          </p:cNvGraphicFramePr>
          <p:nvPr>
            <p:custDataLst>
              <p:tags r:id="rId1"/>
            </p:custDataLst>
            <p:extLst>
              <p:ext uri="{D42A27DB-BD31-4B8C-83A1-F6EECF244321}">
                <p14:modId xmlns:p14="http://schemas.microsoft.com/office/powerpoint/2010/main" val="4133024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E1347BF1-B2EF-DDEE-8367-16C98F629B0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8BBA36CC-A077-761A-87D7-52F6E3B558E8}"/>
              </a:ext>
            </a:extLst>
          </p:cNvPr>
          <p:cNvSpPr>
            <a:spLocks noGrp="1"/>
          </p:cNvSpPr>
          <p:nvPr>
            <p:ph type="body" orient="vert" idx="1"/>
          </p:nvPr>
        </p:nvSpPr>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6DED7F49-4F0A-8462-E634-6F5E44518C9D}"/>
              </a:ext>
            </a:extLst>
          </p:cNvPr>
          <p:cNvSpPr>
            <a:spLocks noGrp="1"/>
          </p:cNvSpPr>
          <p:nvPr>
            <p:ph type="dt" sz="half" idx="10"/>
          </p:nvPr>
        </p:nvSpPr>
        <p:spPr>
          <a:xfrm>
            <a:off x="8082390" y="4972050"/>
            <a:ext cx="557609" cy="171450"/>
          </a:xfrm>
          <a:prstGeom prst="rect">
            <a:avLst/>
          </a:prstGeom>
        </p:spPr>
        <p:txBody>
          <a:bodyPr/>
          <a:lstStyle>
            <a:lvl1pPr>
              <a:defRPr/>
            </a:lvl1pPr>
          </a:lstStyle>
          <a:p>
            <a:fld id="{79CD4036-DD11-40EA-BEEE-E02523992CB3}" type="datetime1">
              <a:rPr lang="en-US" smtClean="0"/>
              <a:t>9/14/2025</a:t>
            </a:fld>
            <a:endParaRPr lang="en-AE"/>
          </a:p>
        </p:txBody>
      </p:sp>
      <p:sp>
        <p:nvSpPr>
          <p:cNvPr id="5" name="Footer Placeholder 4">
            <a:extLst>
              <a:ext uri="{FF2B5EF4-FFF2-40B4-BE49-F238E27FC236}">
                <a16:creationId xmlns:a16="http://schemas.microsoft.com/office/drawing/2014/main" id="{428C2FAE-B3D3-8160-FC98-9E93946A722C}"/>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F3A5A500-2EB3-0BEE-A17A-AD4FF22F0E01}"/>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7" name="Title 6">
            <a:extLst>
              <a:ext uri="{FF2B5EF4-FFF2-40B4-BE49-F238E27FC236}">
                <a16:creationId xmlns:a16="http://schemas.microsoft.com/office/drawing/2014/main" id="{D9274830-976B-D9EB-4FB4-3E0B4E2F56CD}"/>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695751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2870528-F9FF-D45C-5208-B11DF0FFF408}"/>
              </a:ext>
            </a:extLst>
          </p:cNvPr>
          <p:cNvGraphicFramePr>
            <a:graphicFrameLocks noChangeAspect="1"/>
          </p:cNvGraphicFramePr>
          <p:nvPr>
            <p:custDataLst>
              <p:tags r:id="rId1"/>
            </p:custDataLst>
            <p:extLst>
              <p:ext uri="{D42A27DB-BD31-4B8C-83A1-F6EECF244321}">
                <p14:modId xmlns:p14="http://schemas.microsoft.com/office/powerpoint/2010/main" val="825014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22870528-F9FF-D45C-5208-B11DF0FFF40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5C487516-2A53-EDAE-9F6D-3F1837B94829}"/>
              </a:ext>
            </a:extLst>
          </p:cNvPr>
          <p:cNvSpPr>
            <a:spLocks noGrp="1"/>
          </p:cNvSpPr>
          <p:nvPr>
            <p:ph type="dt" sz="half" idx="10"/>
          </p:nvPr>
        </p:nvSpPr>
        <p:spPr>
          <a:xfrm>
            <a:off x="8082390" y="4972050"/>
            <a:ext cx="557609" cy="171450"/>
          </a:xfrm>
          <a:prstGeom prst="rect">
            <a:avLst/>
          </a:prstGeom>
        </p:spPr>
        <p:txBody>
          <a:bodyPr/>
          <a:lstStyle>
            <a:lvl1pPr>
              <a:defRPr/>
            </a:lvl1pPr>
          </a:lstStyle>
          <a:p>
            <a:fld id="{82D4C315-07EB-4321-8252-A24E9FC3DEA6}" type="datetime1">
              <a:rPr lang="en-US" smtClean="0"/>
              <a:t>9/14/2025</a:t>
            </a:fld>
            <a:endParaRPr lang="en-AE"/>
          </a:p>
        </p:txBody>
      </p:sp>
      <p:sp>
        <p:nvSpPr>
          <p:cNvPr id="5" name="Footer Placeholder 4">
            <a:extLst>
              <a:ext uri="{FF2B5EF4-FFF2-40B4-BE49-F238E27FC236}">
                <a16:creationId xmlns:a16="http://schemas.microsoft.com/office/drawing/2014/main" id="{E5ABF9CF-825C-7D36-F7FE-202D518ABDAD}"/>
              </a:ext>
            </a:extLst>
          </p:cNvPr>
          <p:cNvSpPr>
            <a:spLocks noGrp="1"/>
          </p:cNvSpPr>
          <p:nvPr>
            <p:ph type="ftr" sz="quarter" idx="11"/>
          </p:nvPr>
        </p:nvSpPr>
        <p:spPr/>
        <p:txBody>
          <a:bodyPr/>
          <a:lstStyle>
            <a:lvl1pPr>
              <a:defRPr/>
            </a:lvl1pPr>
          </a:lstStyle>
          <a:p>
            <a:endParaRPr lang="en-AE"/>
          </a:p>
        </p:txBody>
      </p:sp>
      <p:sp>
        <p:nvSpPr>
          <p:cNvPr id="6" name="Slide Number Placeholder 5">
            <a:extLst>
              <a:ext uri="{FF2B5EF4-FFF2-40B4-BE49-F238E27FC236}">
                <a16:creationId xmlns:a16="http://schemas.microsoft.com/office/drawing/2014/main" id="{56EF8D06-BC92-6082-1ED3-58A222AAE1C0}"/>
              </a:ext>
            </a:extLst>
          </p:cNvPr>
          <p:cNvSpPr>
            <a:spLocks noGrp="1"/>
          </p:cNvSpPr>
          <p:nvPr>
            <p:ph type="sldNum" sz="quarter" idx="12"/>
          </p:nvPr>
        </p:nvSpPr>
        <p:spPr/>
        <p:txBody>
          <a:bodyPr/>
          <a:lstStyle>
            <a:lvl1pPr>
              <a:defRPr/>
            </a:lvl1pPr>
          </a:lstStyle>
          <a:p>
            <a:fld id="{94EAE7B1-68BD-4D2B-934C-E322FB164993}" type="slidenum">
              <a:rPr lang="en-AE" smtClean="0"/>
              <a:t>‹#›</a:t>
            </a:fld>
            <a:endParaRPr lang="en-AE"/>
          </a:p>
        </p:txBody>
      </p:sp>
      <p:sp>
        <p:nvSpPr>
          <p:cNvPr id="2" name="Vertical Title 1">
            <a:extLst>
              <a:ext uri="{FF2B5EF4-FFF2-40B4-BE49-F238E27FC236}">
                <a16:creationId xmlns:a16="http://schemas.microsoft.com/office/drawing/2014/main" id="{5220F7C6-785A-06A4-3D90-A7505A34CAE6}"/>
              </a:ext>
            </a:extLst>
          </p:cNvPr>
          <p:cNvSpPr>
            <a:spLocks noGrp="1"/>
          </p:cNvSpPr>
          <p:nvPr>
            <p:ph type="title" orient="vert"/>
          </p:nvPr>
        </p:nvSpPr>
        <p:spPr>
          <a:xfrm>
            <a:off x="6543676" y="274639"/>
            <a:ext cx="1971675" cy="4357687"/>
          </a:xfrm>
        </p:spPr>
        <p:txBody>
          <a:bodyPr vert="eaVert"/>
          <a:lstStyle>
            <a:lvl1pPr>
              <a:defRPr/>
            </a:lvl1p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320ED60F-4208-851C-EF72-6D61CC1E5562}"/>
              </a:ext>
            </a:extLst>
          </p:cNvPr>
          <p:cNvSpPr>
            <a:spLocks noGrp="1"/>
          </p:cNvSpPr>
          <p:nvPr>
            <p:ph type="body" orient="vert" idx="1"/>
          </p:nvPr>
        </p:nvSpPr>
        <p:spPr>
          <a:xfrm>
            <a:off x="628651" y="274639"/>
            <a:ext cx="5762625" cy="4357687"/>
          </a:xfrm>
        </p:spPr>
        <p:txBody>
          <a:bodyPr vert="eaVert"/>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38308440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CE803B-8560-894C-BF86-2EEF5FDD8C43}"/>
              </a:ext>
            </a:extLst>
          </p:cNvPr>
          <p:cNvGraphicFramePr>
            <a:graphicFrameLocks noChangeAspect="1"/>
          </p:cNvGraphicFramePr>
          <p:nvPr>
            <p:custDataLst>
              <p:tags r:id="rId1"/>
            </p:custDataLst>
            <p:extLst>
              <p:ext uri="{D42A27DB-BD31-4B8C-83A1-F6EECF244321}">
                <p14:modId xmlns:p14="http://schemas.microsoft.com/office/powerpoint/2010/main" val="3361741804"/>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C1CE803B-8560-894C-BF86-2EEF5FDD8C43}"/>
                          </a:ext>
                        </a:extLst>
                      </p:cNvPr>
                      <p:cNvPicPr/>
                      <p:nvPr/>
                    </p:nvPicPr>
                    <p:blipFill>
                      <a:blip r:embed="rId4"/>
                      <a:stretch>
                        <a:fillRect/>
                      </a:stretch>
                    </p:blipFill>
                    <p:spPr>
                      <a:xfrm>
                        <a:off x="1192" y="1192"/>
                        <a:ext cx="920"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5626348-48A7-304E-B346-D521C6C873B2}"/>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b="0" i="0">
              <a:solidFill>
                <a:schemeClr val="bg1"/>
              </a:solidFill>
              <a:latin typeface="Nexa" pitchFamily="2" charset="77"/>
              <a:ea typeface="Open Sans" panose="020B0606030504020204" pitchFamily="34" charset="0"/>
              <a:cs typeface="Open Sans" panose="020B0606030504020204" pitchFamily="34" charset="0"/>
            </a:endParaRPr>
          </a:p>
        </p:txBody>
      </p:sp>
      <p:sp>
        <p:nvSpPr>
          <p:cNvPr id="2" name="Rectangle 1">
            <a:extLst>
              <a:ext uri="{FF2B5EF4-FFF2-40B4-BE49-F238E27FC236}">
                <a16:creationId xmlns:a16="http://schemas.microsoft.com/office/drawing/2014/main" id="{B47AE415-64FD-DAED-A1C3-2B01164CFF93}"/>
              </a:ext>
            </a:extLst>
          </p:cNvPr>
          <p:cNvSpPr/>
          <p:nvPr/>
        </p:nvSpPr>
        <p:spPr>
          <a:xfrm>
            <a:off x="7628709" y="4996544"/>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8CACD3D2-C57C-552A-0C24-5C0863A74CAD}"/>
              </a:ext>
            </a:extLst>
          </p:cNvPr>
          <p:cNvSpPr/>
          <p:nvPr/>
        </p:nvSpPr>
        <p:spPr>
          <a:xfrm>
            <a:off x="7628708" y="4996543"/>
            <a:ext cx="515984" cy="146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0">
              <a:solidFill>
                <a:schemeClr val="bg1"/>
              </a:solidFill>
              <a:latin typeface="Nexa Book" pitchFamily="2" charset="77"/>
              <a:ea typeface="+mn-ea"/>
              <a:cs typeface="+mn-cs"/>
            </a:endParaRPr>
          </a:p>
        </p:txBody>
      </p:sp>
      <p:sp>
        <p:nvSpPr>
          <p:cNvPr id="5" name="Rectangle 4">
            <a:extLst>
              <a:ext uri="{FF2B5EF4-FFF2-40B4-BE49-F238E27FC236}">
                <a16:creationId xmlns:a16="http://schemas.microsoft.com/office/drawing/2014/main" id="{AF5DE1E4-B593-20A5-C0B6-A1BC14CB908B}"/>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683CEA61-058D-85E1-4DD6-02961B5D23BC}"/>
              </a:ext>
            </a:extLst>
          </p:cNvPr>
          <p:cNvSpPr/>
          <p:nvPr/>
        </p:nvSpPr>
        <p:spPr>
          <a:xfrm flipV="1">
            <a:off x="298174" y="746977"/>
            <a:ext cx="871628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6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0503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MT Blank/ Foot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08E5496-ECD7-114D-473C-5FD54D65AED3}"/>
              </a:ext>
            </a:extLst>
          </p:cNvPr>
          <p:cNvGraphicFramePr>
            <a:graphicFrameLocks noChangeAspect="1"/>
          </p:cNvGraphicFramePr>
          <p:nvPr>
            <p:custDataLst>
              <p:tags r:id="rId1"/>
            </p:custDataLst>
            <p:extLst>
              <p:ext uri="{D42A27DB-BD31-4B8C-83A1-F6EECF244321}">
                <p14:modId xmlns:p14="http://schemas.microsoft.com/office/powerpoint/2010/main" val="228446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think-cell data - do not delete" hidden="1">
                        <a:extLst>
                          <a:ext uri="{FF2B5EF4-FFF2-40B4-BE49-F238E27FC236}">
                            <a16:creationId xmlns:a16="http://schemas.microsoft.com/office/drawing/2014/main" id="{408E5496-ECD7-114D-473C-5FD54D65AED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Image 6">
            <a:extLst>
              <a:ext uri="{FF2B5EF4-FFF2-40B4-BE49-F238E27FC236}">
                <a16:creationId xmlns:a16="http://schemas.microsoft.com/office/drawing/2014/main" id="{11031BE9-22F6-12FB-FFC9-14212D88F988}"/>
              </a:ext>
            </a:extLst>
          </p:cNvPr>
          <p:cNvPicPr>
            <a:picLocks noChangeAspect="1"/>
          </p:cNvPicPr>
          <p:nvPr/>
        </p:nvPicPr>
        <p:blipFill>
          <a:blip r:embed="rId7" cstate="screen">
            <a:alphaModFix amt="15000"/>
            <a:extLst>
              <a:ext uri="{28A0092B-C50C-407E-A947-70E740481C1C}">
                <a14:useLocalDpi xmlns:a14="http://schemas.microsoft.com/office/drawing/2010/main"/>
              </a:ext>
            </a:extLst>
          </a:blip>
          <a:srcRect/>
          <a:stretch/>
        </p:blipFill>
        <p:spPr>
          <a:xfrm>
            <a:off x="2" y="790660"/>
            <a:ext cx="2596818" cy="4180040"/>
          </a:xfrm>
          <a:prstGeom prst="rect">
            <a:avLst/>
          </a:prstGeom>
        </p:spPr>
      </p:pic>
      <p:sp>
        <p:nvSpPr>
          <p:cNvPr id="2" name="Date Placeholder 1">
            <a:extLst>
              <a:ext uri="{FF2B5EF4-FFF2-40B4-BE49-F238E27FC236}">
                <a16:creationId xmlns:a16="http://schemas.microsoft.com/office/drawing/2014/main" id="{E5808D65-B4B3-3AF9-D068-D172F8F8A3C9}"/>
              </a:ext>
            </a:extLst>
          </p:cNvPr>
          <p:cNvSpPr>
            <a:spLocks noGrp="1"/>
          </p:cNvSpPr>
          <p:nvPr>
            <p:ph type="dt" sz="half" idx="10"/>
          </p:nvPr>
        </p:nvSpPr>
        <p:spPr>
          <a:xfrm>
            <a:off x="8107680" y="4972050"/>
            <a:ext cx="532319" cy="171450"/>
          </a:xfrm>
          <a:prstGeom prst="rect">
            <a:avLst/>
          </a:prstGeom>
        </p:spPr>
        <p:txBody>
          <a:bodyPr/>
          <a:lstStyle>
            <a:lvl1pPr>
              <a:defRPr/>
            </a:lvl1pPr>
          </a:lstStyle>
          <a:p>
            <a:fld id="{72A7EB78-2068-4D4B-88B1-EBD0FDF88D43}" type="datetime1">
              <a:rPr lang="en-US" smtClean="0"/>
              <a:t>9/14/2025</a:t>
            </a:fld>
            <a:endParaRPr lang="en-US"/>
          </a:p>
        </p:txBody>
      </p:sp>
      <p:sp>
        <p:nvSpPr>
          <p:cNvPr id="3" name="Footer Placeholder 2">
            <a:extLst>
              <a:ext uri="{FF2B5EF4-FFF2-40B4-BE49-F238E27FC236}">
                <a16:creationId xmlns:a16="http://schemas.microsoft.com/office/drawing/2014/main" id="{1D31FB19-D487-FCD5-8220-0CDC82CDE653}"/>
              </a:ext>
            </a:extLst>
          </p:cNvPr>
          <p:cNvSpPr>
            <a:spLocks noGrp="1"/>
          </p:cNvSpPr>
          <p:nvPr>
            <p:ph type="ftr" sz="quarter" idx="11"/>
          </p:nvPr>
        </p:nvSpPr>
        <p:spPr/>
        <p:txBody>
          <a:bodyPr/>
          <a:lstStyle>
            <a:lvl1pPr>
              <a:defRPr/>
            </a:lvl1pPr>
          </a:lstStyle>
          <a:p>
            <a:endParaRPr lang="en-US"/>
          </a:p>
        </p:txBody>
      </p:sp>
      <p:sp>
        <p:nvSpPr>
          <p:cNvPr id="4" name="Slide Number Placeholder 3">
            <a:extLst>
              <a:ext uri="{FF2B5EF4-FFF2-40B4-BE49-F238E27FC236}">
                <a16:creationId xmlns:a16="http://schemas.microsoft.com/office/drawing/2014/main" id="{30FCF901-9D83-8964-2A6A-E6BAB4226B42}"/>
              </a:ext>
            </a:extLst>
          </p:cNvPr>
          <p:cNvSpPr>
            <a:spLocks noGrp="1"/>
          </p:cNvSpPr>
          <p:nvPr>
            <p:ph type="sldNum" sz="quarter" idx="12"/>
          </p:nvPr>
        </p:nvSpPr>
        <p:spPr/>
        <p:txBody>
          <a:bodyPr/>
          <a:lstStyle>
            <a:lvl1pPr>
              <a:defRPr/>
            </a:lvl1pPr>
          </a:lstStyle>
          <a:p>
            <a:fld id="{7B1F438D-4EAF-094E-9162-80CF3EF77236}" type="slidenum">
              <a:rPr lang="en-US" smtClean="0"/>
              <a:pPr/>
              <a:t>‹#›</a:t>
            </a:fld>
            <a:endParaRPr lang="en-US"/>
          </a:p>
        </p:txBody>
      </p:sp>
      <p:sp>
        <p:nvSpPr>
          <p:cNvPr id="5" name="Rectangle 4">
            <a:extLst>
              <a:ext uri="{FF2B5EF4-FFF2-40B4-BE49-F238E27FC236}">
                <a16:creationId xmlns:a16="http://schemas.microsoft.com/office/drawing/2014/main" id="{10B5E4B0-3A18-4290-1E3F-C99AA96FC966}"/>
              </a:ext>
            </a:extLst>
          </p:cNvPr>
          <p:cNvSpPr/>
          <p:nvPr/>
        </p:nvSpPr>
        <p:spPr>
          <a:xfrm>
            <a:off x="479933" y="729773"/>
            <a:ext cx="8525522" cy="74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sz="1200" b="0" i="0">
              <a:solidFill>
                <a:schemeClr val="bg1"/>
              </a:solidFill>
              <a:latin typeface="Nexa Book" panose="00000400000000000000" pitchFamily="50"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30AB271C-B084-727A-C7E4-E448CFCDC108}"/>
              </a:ext>
            </a:extLst>
          </p:cNvPr>
          <p:cNvSpPr txBox="1"/>
          <p:nvPr/>
        </p:nvSpPr>
        <p:spPr>
          <a:xfrm>
            <a:off x="3076750" y="756000"/>
            <a:ext cx="5208267" cy="4239000"/>
          </a:xfrm>
          <a:prstGeom prst="rect">
            <a:avLst/>
          </a:prstGeom>
          <a:noFill/>
        </p:spPr>
        <p:txBody>
          <a:bodyPr wrap="square" rtlCol="0">
            <a:noAutofit/>
          </a:bodyPr>
          <a:lstStyle/>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is document has been prepar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for information purposes on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provide, and have not provided, any investment advice or recommendation to you in relation to a transaction. Accordingl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is under no obligation to, and shall not, determine the suitability for you of a transaction.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ccepts no liability whatsoever for any losses (consequential or otherwise) arising from the use of this document or reliance on the information contained herein.</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does not guarantee the accuracy or completeness of information which is contained in this document. Any data on past performance contained herein is no indication as to future performance. No representation is made as to the reasonableness of the assumptions made within or the accuracy or completeness of any modelling, scenario analysis, or back-testing. All opinions and estimates are given as of the date hereof and are subject to change.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shall have no obligation to update any of the information contained herein, notwithstanding that such information may become outdated or inaccurate. The information in this document is not intended to predict the actual results and no assurances are given in this respect.</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 forward-looking statements, financial evaluations, projected market and financial information, and conclusions contained in these materials are neither historical facts nor assurances of future performance. They are not definitive forecasts, and are not guaranteed by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as they are subject to inherent uncertainties, risks and changes in circumstances that are difficult to predict and many of which are outside of our control.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has used public and/or confidential data and assumptions provided by the Client and has not independently verified the data and assumptions used in these analyses or assumptions. Changes in the underlying data or operating assumptions will clearly impact the analyses and conclusions.</a:t>
            </a:r>
          </a:p>
          <a:p>
            <a:pPr marL="0" marR="0" lvl="0" indent="0" algn="just" defTabSz="342892"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endParaRPr>
          </a:p>
          <a:p>
            <a:pPr marL="0" marR="0" lvl="0" indent="0" algn="just" defTabSz="3428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These materials serve only as the focus for discussion; they are incomplete without the accompanying oral commentary and may not be relied on as a stand-alone document. This document is confidential, and no part of it may be reproduced, distributed or transmitted without the prior written permission of Pricing</a:t>
            </a:r>
            <a:r>
              <a:rPr kumimoji="0" lang="en-US" sz="800" b="0" i="0" u="none" strike="noStrike" kern="1200" cap="none" spc="0" normalizeH="0" baseline="0" noProof="0">
                <a:ln>
                  <a:noFill/>
                </a:ln>
                <a:solidFill>
                  <a:schemeClr val="accent3"/>
                </a:solidFill>
                <a:effectLst/>
                <a:uLnTx/>
                <a:uFillTx/>
                <a:latin typeface="Nexa Book" pitchFamily="2" charset="77"/>
                <a:ea typeface="Open Sans" panose="020B0606030504020204" pitchFamily="34" charset="0"/>
                <a:cs typeface="Open Sans" panose="020B0606030504020204" pitchFamily="34" charset="0"/>
              </a:rPr>
              <a:t>One</a:t>
            </a:r>
            <a:r>
              <a:rPr kumimoji="0" lang="en-US" sz="800" b="0" i="0" u="none" strike="noStrike" kern="1200" cap="none" spc="0" normalizeH="0" baseline="0" noProof="0">
                <a:ln>
                  <a:noFill/>
                </a:ln>
                <a:solidFill>
                  <a:prstClr val="white">
                    <a:lumMod val="50000"/>
                  </a:prstClr>
                </a:solidFill>
                <a:effectLst/>
                <a:uLnTx/>
                <a:uFillTx/>
                <a:latin typeface="Nexa Book" pitchFamily="2" charset="77"/>
                <a:ea typeface="Open Sans" panose="020B0606030504020204" pitchFamily="34" charset="0"/>
                <a:cs typeface="Open Sans" panose="020B0606030504020204" pitchFamily="34" charset="0"/>
              </a:rPr>
              <a:t>. By accepting any copy of this document, the addressee agrees to be bound by the foregoing terms and conditions.</a:t>
            </a:r>
          </a:p>
        </p:txBody>
      </p:sp>
      <p:sp>
        <p:nvSpPr>
          <p:cNvPr id="7" name="Title 1">
            <a:extLst>
              <a:ext uri="{FF2B5EF4-FFF2-40B4-BE49-F238E27FC236}">
                <a16:creationId xmlns:a16="http://schemas.microsoft.com/office/drawing/2014/main" id="{806360F2-4840-29EA-734D-4B87634EF704}"/>
              </a:ext>
            </a:extLst>
          </p:cNvPr>
          <p:cNvSpPr>
            <a:spLocks noGrp="1"/>
          </p:cNvSpPr>
          <p:nvPr>
            <p:ph type="title" hasCustomPrompt="1"/>
          </p:nvPr>
        </p:nvSpPr>
        <p:spPr>
          <a:xfrm>
            <a:off x="2555875" y="135002"/>
            <a:ext cx="6084888" cy="620999"/>
          </a:xfrm>
          <a:prstGeom prst="rect">
            <a:avLst/>
          </a:prstGeom>
        </p:spPr>
        <p:txBody>
          <a:bodyPr vert="horz" anchor="ctr">
            <a:normAutofit/>
          </a:bodyPr>
          <a:lstStyle>
            <a:lvl1pPr>
              <a:defRPr lang="en-US" b="1" i="0">
                <a:solidFill>
                  <a:srgbClr val="006D6F"/>
                </a:solidFill>
                <a:latin typeface="Nexa" pitchFamily="2" charset="77"/>
              </a:defRPr>
            </a:lvl1pPr>
          </a:lstStyle>
          <a:p>
            <a:pPr lvl="0"/>
            <a:r>
              <a:rPr lang="en-US"/>
              <a:t>Disclaimer</a:t>
            </a:r>
          </a:p>
        </p:txBody>
      </p:sp>
      <p:graphicFrame>
        <p:nvGraphicFramePr>
          <p:cNvPr id="10" name="think-cell data - do not delete" hidden="1">
            <a:extLst>
              <a:ext uri="{FF2B5EF4-FFF2-40B4-BE49-F238E27FC236}">
                <a16:creationId xmlns:a16="http://schemas.microsoft.com/office/drawing/2014/main" id="{DEFCE825-7A06-A559-AE86-B312A254C0B2}"/>
              </a:ext>
            </a:extLst>
          </p:cNvPr>
          <p:cNvGraphicFramePr>
            <a:graphicFrameLocks noChangeAspect="1"/>
          </p:cNvGraphicFramePr>
          <p:nvPr>
            <p:custDataLst>
              <p:tags r:id="rId2"/>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0" name="think-cell data - do not delete" hidden="1">
                        <a:extLst>
                          <a:ext uri="{FF2B5EF4-FFF2-40B4-BE49-F238E27FC236}">
                            <a16:creationId xmlns:a16="http://schemas.microsoft.com/office/drawing/2014/main" id="{DEFCE825-7A06-A559-AE86-B312A254C0B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1" name="think-cell data - do not delete" hidden="1">
            <a:extLst>
              <a:ext uri="{FF2B5EF4-FFF2-40B4-BE49-F238E27FC236}">
                <a16:creationId xmlns:a16="http://schemas.microsoft.com/office/drawing/2014/main" id="{E7C90E96-885C-E25C-5425-886F6E83FDC8}"/>
              </a:ext>
            </a:extLst>
          </p:cNvPr>
          <p:cNvGraphicFramePr>
            <a:graphicFrameLocks noChangeAspect="1"/>
          </p:cNvGraphicFramePr>
          <p:nvPr>
            <p:custDataLst>
              <p:tags r:id="rId3"/>
            </p:custDataLst>
            <p:extLst>
              <p:ext uri="{D42A27DB-BD31-4B8C-83A1-F6EECF244321}">
                <p14:modId xmlns:p14="http://schemas.microsoft.com/office/powerpoint/2010/main" val="3572797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11" name="think-cell data - do not delete" hidden="1">
                        <a:extLst>
                          <a:ext uri="{FF2B5EF4-FFF2-40B4-BE49-F238E27FC236}">
                            <a16:creationId xmlns:a16="http://schemas.microsoft.com/office/drawing/2014/main" id="{E7C90E96-885C-E25C-5425-886F6E83FDC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43116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MT Blank/Sourc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5B0C8-706B-0D72-2B9F-773162DEC7E4}"/>
              </a:ext>
            </a:extLst>
          </p:cNvPr>
          <p:cNvGraphicFramePr>
            <a:graphicFrameLocks noChangeAspect="1"/>
          </p:cNvGraphicFramePr>
          <p:nvPr>
            <p:custDataLst>
              <p:tags r:id="rId1"/>
            </p:custDataLst>
            <p:extLst>
              <p:ext uri="{D42A27DB-BD31-4B8C-83A1-F6EECF244321}">
                <p14:modId xmlns:p14="http://schemas.microsoft.com/office/powerpoint/2010/main" val="6366681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think-cell data - do not delete" hidden="1">
                        <a:extLst>
                          <a:ext uri="{FF2B5EF4-FFF2-40B4-BE49-F238E27FC236}">
                            <a16:creationId xmlns:a16="http://schemas.microsoft.com/office/drawing/2014/main" id="{B1B5B0C8-706B-0D72-2B9F-773162DEC7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4">
            <a:extLst>
              <a:ext uri="{FF2B5EF4-FFF2-40B4-BE49-F238E27FC236}">
                <a16:creationId xmlns:a16="http://schemas.microsoft.com/office/drawing/2014/main" id="{2328E7C0-BB2F-4491-9B61-28D41584B589}"/>
              </a:ext>
            </a:extLst>
          </p:cNvPr>
          <p:cNvSpPr>
            <a:spLocks noGrp="1"/>
          </p:cNvSpPr>
          <p:nvPr>
            <p:ph type="body" sz="quarter" idx="13" hasCustomPrompt="1"/>
          </p:nvPr>
        </p:nvSpPr>
        <p:spPr>
          <a:xfrm>
            <a:off x="0" y="4731544"/>
            <a:ext cx="4572000" cy="225440"/>
          </a:xfrm>
          <a:prstGeom prst="rect">
            <a:avLst/>
          </a:prstGeom>
        </p:spPr>
        <p:txBody>
          <a:bodyPr anchor="ctr"/>
          <a:lstStyle>
            <a:lvl1pPr marL="0" indent="0" algn="l">
              <a:buFontTx/>
              <a:buNone/>
              <a:defRPr sz="600" b="0" i="0">
                <a:solidFill>
                  <a:schemeClr val="bg2">
                    <a:lumMod val="50000"/>
                  </a:schemeClr>
                </a:solidFill>
                <a:latin typeface="+mn-lt"/>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4" name="Date Placeholder 3">
            <a:extLst>
              <a:ext uri="{FF2B5EF4-FFF2-40B4-BE49-F238E27FC236}">
                <a16:creationId xmlns:a16="http://schemas.microsoft.com/office/drawing/2014/main" id="{B21B874F-1D9A-CB80-D693-07550A30A0AF}"/>
              </a:ext>
            </a:extLst>
          </p:cNvPr>
          <p:cNvSpPr>
            <a:spLocks noGrp="1"/>
          </p:cNvSpPr>
          <p:nvPr>
            <p:ph type="dt" sz="half" idx="14"/>
          </p:nvPr>
        </p:nvSpPr>
        <p:spPr>
          <a:xfrm>
            <a:off x="8107680" y="4972050"/>
            <a:ext cx="532319" cy="171450"/>
          </a:xfrm>
          <a:prstGeom prst="rect">
            <a:avLst/>
          </a:prstGeom>
        </p:spPr>
        <p:txBody>
          <a:bodyPr/>
          <a:lstStyle/>
          <a:p>
            <a:fld id="{C91DEF0D-2B75-4A09-A9B1-FECD88798F29}" type="datetime1">
              <a:rPr lang="en-US" smtClean="0"/>
              <a:t>9/14/2025</a:t>
            </a:fld>
            <a:endParaRPr lang="en-US"/>
          </a:p>
        </p:txBody>
      </p:sp>
      <p:sp>
        <p:nvSpPr>
          <p:cNvPr id="6" name="Footer Placeholder 5">
            <a:extLst>
              <a:ext uri="{FF2B5EF4-FFF2-40B4-BE49-F238E27FC236}">
                <a16:creationId xmlns:a16="http://schemas.microsoft.com/office/drawing/2014/main" id="{0476026F-4BB0-8B47-7197-300E80A08336}"/>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9D042FD9-18B0-44ED-36BD-8261A9290902}"/>
              </a:ext>
            </a:extLst>
          </p:cNvPr>
          <p:cNvSpPr>
            <a:spLocks noGrp="1"/>
          </p:cNvSpPr>
          <p:nvPr>
            <p:ph type="sldNum" sz="quarter" idx="16"/>
          </p:nvPr>
        </p:nvSpPr>
        <p:spPr/>
        <p:txBody>
          <a:bodyPr/>
          <a:lstStyle/>
          <a:p>
            <a:fld id="{7B1F438D-4EAF-094E-9162-80CF3EF77236}" type="slidenum">
              <a:rPr lang="en-US" smtClean="0"/>
              <a:pPr/>
              <a:t>‹#›</a:t>
            </a:fld>
            <a:endParaRPr lang="en-US"/>
          </a:p>
        </p:txBody>
      </p:sp>
    </p:spTree>
    <p:extLst>
      <p:ext uri="{BB962C8B-B14F-4D97-AF65-F5344CB8AC3E}">
        <p14:creationId xmlns:p14="http://schemas.microsoft.com/office/powerpoint/2010/main" val="3654640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T Titl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F18C80-4AF2-CB8F-6E5D-99836D073456}"/>
              </a:ext>
            </a:extLst>
          </p:cNvPr>
          <p:cNvGraphicFramePr>
            <a:graphicFrameLocks noChangeAspect="1"/>
          </p:cNvGraphicFramePr>
          <p:nvPr>
            <p:custDataLst>
              <p:tags r:id="rId1"/>
            </p:custDataLst>
            <p:extLst>
              <p:ext uri="{D42A27DB-BD31-4B8C-83A1-F6EECF244321}">
                <p14:modId xmlns:p14="http://schemas.microsoft.com/office/powerpoint/2010/main" val="2674032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ACF18C80-4AF2-CB8F-6E5D-99836D0734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24EE71A3-D7B7-4DE1-AE6D-53A52E9E346A}"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4" name="Title 3">
            <a:extLst>
              <a:ext uri="{FF2B5EF4-FFF2-40B4-BE49-F238E27FC236}">
                <a16:creationId xmlns:a16="http://schemas.microsoft.com/office/drawing/2014/main" id="{3698FFC9-CB91-E540-B8E5-2F843DEEC0FF}"/>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812990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MT Title/Sourc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3EF7925-9BC6-8FAB-E50F-9BA9BBD1C1F7}"/>
              </a:ext>
            </a:extLst>
          </p:cNvPr>
          <p:cNvGraphicFramePr>
            <a:graphicFrameLocks noChangeAspect="1"/>
          </p:cNvGraphicFramePr>
          <p:nvPr>
            <p:custDataLst>
              <p:tags r:id="rId1"/>
            </p:custDataLst>
            <p:extLst>
              <p:ext uri="{D42A27DB-BD31-4B8C-83A1-F6EECF244321}">
                <p14:modId xmlns:p14="http://schemas.microsoft.com/office/powerpoint/2010/main" val="33897279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73EF7925-9BC6-8FAB-E50F-9BA9BBD1C1F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C8D7BDDC-C794-46B8-9A4F-2DD329D637F6}"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Title 2">
            <a:extLst>
              <a:ext uri="{FF2B5EF4-FFF2-40B4-BE49-F238E27FC236}">
                <a16:creationId xmlns:a16="http://schemas.microsoft.com/office/drawing/2014/main" id="{52C75A24-3941-1605-756D-B0158FCDEFBA}"/>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387392346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T 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2C464A-103A-97D4-3657-A9F71B607B6A}"/>
              </a:ext>
            </a:extLst>
          </p:cNvPr>
          <p:cNvGraphicFramePr>
            <a:graphicFrameLocks noChangeAspect="1"/>
          </p:cNvGraphicFramePr>
          <p:nvPr>
            <p:custDataLst>
              <p:tags r:id="rId1"/>
            </p:custDataLst>
            <p:extLst>
              <p:ext uri="{D42A27DB-BD31-4B8C-83A1-F6EECF244321}">
                <p14:modId xmlns:p14="http://schemas.microsoft.com/office/powerpoint/2010/main" val="19993406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C12C464A-103A-97D4-3657-A9F71B607B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F6BE27BD-74BC-4659-9C5F-AEDA0FFC10A2}"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1488"/>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7" name="Title 6">
            <a:extLst>
              <a:ext uri="{FF2B5EF4-FFF2-40B4-BE49-F238E27FC236}">
                <a16:creationId xmlns:a16="http://schemas.microsoft.com/office/drawing/2014/main" id="{8822D546-FE36-BE91-295F-5241CD546ED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85224561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T Subtitle/ Sourc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529D89-BDBA-EAB1-379E-E65717800E63}"/>
              </a:ext>
            </a:extLst>
          </p:cNvPr>
          <p:cNvGraphicFramePr>
            <a:graphicFrameLocks noChangeAspect="1"/>
          </p:cNvGraphicFramePr>
          <p:nvPr>
            <p:custDataLst>
              <p:tags r:id="rId1"/>
            </p:custDataLst>
            <p:extLst>
              <p:ext uri="{D42A27DB-BD31-4B8C-83A1-F6EECF244321}">
                <p14:modId xmlns:p14="http://schemas.microsoft.com/office/powerpoint/2010/main" val="211639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D9529D89-BDBA-EAB1-379E-E65717800E6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lgn="r">
              <a:defRPr sz="500" b="0" i="0">
                <a:latin typeface="Nexa Book" panose="00000400000000000000" pitchFamily="50" charset="0"/>
              </a:defRPr>
            </a:lvl1pPr>
          </a:lstStyle>
          <a:p>
            <a:fld id="{4173D8A8-8AB0-4609-A9BC-EA4284AFF02B}" type="datetime1">
              <a:rPr lang="en-US" smtClean="0"/>
              <a:pPr/>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3238" y="774000"/>
            <a:ext cx="8136762"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3" name="Title 2">
            <a:extLst>
              <a:ext uri="{FF2B5EF4-FFF2-40B4-BE49-F238E27FC236}">
                <a16:creationId xmlns:a16="http://schemas.microsoft.com/office/drawing/2014/main" id="{BE176661-8131-CE9F-146E-DECC425D28AB}"/>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158815031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MT subtitle/tex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27FB203-4282-CAD5-63B1-7C93EDAF122E}"/>
              </a:ext>
            </a:extLst>
          </p:cNvPr>
          <p:cNvGraphicFramePr>
            <a:graphicFrameLocks noChangeAspect="1"/>
          </p:cNvGraphicFramePr>
          <p:nvPr>
            <p:custDataLst>
              <p:tags r:id="rId1"/>
            </p:custDataLst>
            <p:extLst>
              <p:ext uri="{D42A27DB-BD31-4B8C-83A1-F6EECF244321}">
                <p14:modId xmlns:p14="http://schemas.microsoft.com/office/powerpoint/2010/main" val="224524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27FB203-4282-CAD5-63B1-7C93EDAF12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598338"/>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2" name="Date Placeholder 1">
            <a:extLst>
              <a:ext uri="{FF2B5EF4-FFF2-40B4-BE49-F238E27FC236}">
                <a16:creationId xmlns:a16="http://schemas.microsoft.com/office/drawing/2014/main" id="{D17C94E6-467F-C674-0485-65C4BA46692A}"/>
              </a:ext>
            </a:extLst>
          </p:cNvPr>
          <p:cNvSpPr>
            <a:spLocks noGrp="1"/>
          </p:cNvSpPr>
          <p:nvPr>
            <p:ph type="dt" sz="half" idx="19"/>
          </p:nvPr>
        </p:nvSpPr>
        <p:spPr>
          <a:xfrm>
            <a:off x="8082390" y="4972050"/>
            <a:ext cx="557609" cy="171450"/>
          </a:xfrm>
          <a:prstGeom prst="rect">
            <a:avLst/>
          </a:prstGeom>
        </p:spPr>
        <p:txBody>
          <a:bodyPr/>
          <a:lstStyle>
            <a:lvl1pPr>
              <a:defRPr sz="500"/>
            </a:lvl1pPr>
          </a:lstStyle>
          <a:p>
            <a:fld id="{F039F0E9-E231-4FD7-B664-30235751A54D}" type="datetime1">
              <a:rPr lang="en-US" smtClean="0"/>
              <a:t>9/14/2025</a:t>
            </a:fld>
            <a:endParaRPr lang="en-US"/>
          </a:p>
        </p:txBody>
      </p:sp>
      <p:sp>
        <p:nvSpPr>
          <p:cNvPr id="6" name="Footer Placeholder 5">
            <a:extLst>
              <a:ext uri="{FF2B5EF4-FFF2-40B4-BE49-F238E27FC236}">
                <a16:creationId xmlns:a16="http://schemas.microsoft.com/office/drawing/2014/main" id="{173F61B0-A386-FFDD-7841-76C2F90BE64B}"/>
              </a:ext>
            </a:extLst>
          </p:cNvPr>
          <p:cNvSpPr>
            <a:spLocks noGrp="1"/>
          </p:cNvSpPr>
          <p:nvPr>
            <p:ph type="ftr" sz="quarter" idx="20"/>
          </p:nvPr>
        </p:nvSpPr>
        <p:spPr/>
        <p:txBody>
          <a:bodyPr/>
          <a:lstStyle>
            <a:lvl1pPr>
              <a:defRPr/>
            </a:lvl1pPr>
          </a:lstStyle>
          <a:p>
            <a:endParaRPr lang="en-US"/>
          </a:p>
        </p:txBody>
      </p:sp>
      <p:sp>
        <p:nvSpPr>
          <p:cNvPr id="8" name="Slide Number Placeholder 7">
            <a:extLst>
              <a:ext uri="{FF2B5EF4-FFF2-40B4-BE49-F238E27FC236}">
                <a16:creationId xmlns:a16="http://schemas.microsoft.com/office/drawing/2014/main" id="{63B4E6B9-8E29-196D-38AA-D19DEE843542}"/>
              </a:ext>
            </a:extLst>
          </p:cNvPr>
          <p:cNvSpPr>
            <a:spLocks noGrp="1"/>
          </p:cNvSpPr>
          <p:nvPr>
            <p:ph type="sldNum" sz="quarter" idx="21"/>
          </p:nvPr>
        </p:nvSpPr>
        <p:spPr/>
        <p:txBody>
          <a:bodyPr/>
          <a:lstStyle>
            <a:lvl1pPr>
              <a:defRPr/>
            </a:lvl1pPr>
          </a:lstStyle>
          <a:p>
            <a:fld id="{7B1F438D-4EAF-094E-9162-80CF3EF77236}" type="slidenum">
              <a:rPr lang="en-US" smtClean="0"/>
              <a:pPr/>
              <a:t>‹#›</a:t>
            </a:fld>
            <a:endParaRPr lang="en-US"/>
          </a:p>
        </p:txBody>
      </p:sp>
      <p:sp>
        <p:nvSpPr>
          <p:cNvPr id="12" name="Title 11">
            <a:extLst>
              <a:ext uri="{FF2B5EF4-FFF2-40B4-BE49-F238E27FC236}">
                <a16:creationId xmlns:a16="http://schemas.microsoft.com/office/drawing/2014/main" id="{5BCCEAEE-CE70-68A4-AE12-C41C4258254C}"/>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4016922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T subtitle/text/Source">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4DE281-3251-1095-BCA9-0D50D1995B06}"/>
              </a:ext>
            </a:extLst>
          </p:cNvPr>
          <p:cNvGraphicFramePr>
            <a:graphicFrameLocks noChangeAspect="1"/>
          </p:cNvGraphicFramePr>
          <p:nvPr>
            <p:custDataLst>
              <p:tags r:id="rId1"/>
            </p:custDataLst>
            <p:extLst>
              <p:ext uri="{D42A27DB-BD31-4B8C-83A1-F6EECF244321}">
                <p14:modId xmlns:p14="http://schemas.microsoft.com/office/powerpoint/2010/main" val="985923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114DE281-3251-1095-BCA9-0D50D1995B0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02CFEA0-A36C-4CCD-809B-F57D0D2F32F2}"/>
              </a:ext>
            </a:extLst>
          </p:cNvPr>
          <p:cNvSpPr>
            <a:spLocks noGrp="1"/>
          </p:cNvSpPr>
          <p:nvPr>
            <p:ph type="dt" sz="half" idx="14"/>
          </p:nvPr>
        </p:nvSpPr>
        <p:spPr>
          <a:xfrm>
            <a:off x="8082390" y="4972050"/>
            <a:ext cx="557609" cy="171450"/>
          </a:xfrm>
          <a:prstGeom prst="rect">
            <a:avLst/>
          </a:prstGeom>
        </p:spPr>
        <p:txBody>
          <a:bodyPr/>
          <a:lstStyle>
            <a:lvl1pPr>
              <a:defRPr b="0" i="0">
                <a:latin typeface="Nexa Book" panose="00000400000000000000" pitchFamily="50" charset="0"/>
              </a:defRPr>
            </a:lvl1pPr>
          </a:lstStyle>
          <a:p>
            <a:fld id="{344BBA10-8818-48FF-90BC-F125AC190F69}" type="datetime1">
              <a:rPr lang="en-US" smtClean="0"/>
              <a:t>9/14/2025</a:t>
            </a:fld>
            <a:endParaRPr lang="en-US"/>
          </a:p>
        </p:txBody>
      </p:sp>
      <p:sp>
        <p:nvSpPr>
          <p:cNvPr id="10" name="Footer Placeholder 9">
            <a:extLst>
              <a:ext uri="{FF2B5EF4-FFF2-40B4-BE49-F238E27FC236}">
                <a16:creationId xmlns:a16="http://schemas.microsoft.com/office/drawing/2014/main" id="{BFCB9183-A81D-486E-AD8C-8492C2D2D45F}"/>
              </a:ext>
            </a:extLst>
          </p:cNvPr>
          <p:cNvSpPr>
            <a:spLocks noGrp="1"/>
          </p:cNvSpPr>
          <p:nvPr>
            <p:ph type="ftr" sz="quarter" idx="15"/>
          </p:nvPr>
        </p:nvSpPr>
        <p:spPr/>
        <p:txBody>
          <a:bodyPr/>
          <a:lstStyle>
            <a:lvl1pPr>
              <a:defRPr b="0" i="0">
                <a:latin typeface="Nexa Book" panose="00000400000000000000" pitchFamily="50" charset="0"/>
              </a:defRPr>
            </a:lvl1pPr>
          </a:lstStyle>
          <a:p>
            <a:endParaRPr lang="en-US"/>
          </a:p>
        </p:txBody>
      </p:sp>
      <p:sp>
        <p:nvSpPr>
          <p:cNvPr id="11" name="Slide Number Placeholder 10">
            <a:extLst>
              <a:ext uri="{FF2B5EF4-FFF2-40B4-BE49-F238E27FC236}">
                <a16:creationId xmlns:a16="http://schemas.microsoft.com/office/drawing/2014/main" id="{409DD0D0-836F-4975-9AC5-CC16BE350C53}"/>
              </a:ext>
            </a:extLst>
          </p:cNvPr>
          <p:cNvSpPr>
            <a:spLocks noGrp="1"/>
          </p:cNvSpPr>
          <p:nvPr>
            <p:ph type="sldNum" sz="quarter" idx="16"/>
          </p:nvPr>
        </p:nvSpPr>
        <p:spPr/>
        <p:txBody>
          <a:bodyPr/>
          <a:lstStyle>
            <a:lvl1pPr>
              <a:defRPr b="0" i="0">
                <a:latin typeface="Nexa Book" panose="00000400000000000000" pitchFamily="50" charset="0"/>
              </a:defRPr>
            </a:lvl1pPr>
          </a:lstStyle>
          <a:p>
            <a:fld id="{7B1F438D-4EAF-094E-9162-80CF3EF77236}" type="slidenum">
              <a:rPr lang="en-US" smtClean="0"/>
              <a:pPr/>
              <a:t>‹#›</a:t>
            </a:fld>
            <a:endParaRPr lang="en-US"/>
          </a:p>
        </p:txBody>
      </p:sp>
      <p:sp>
        <p:nvSpPr>
          <p:cNvPr id="16" name="Data Source">
            <a:extLst>
              <a:ext uri="{FF2B5EF4-FFF2-40B4-BE49-F238E27FC236}">
                <a16:creationId xmlns:a16="http://schemas.microsoft.com/office/drawing/2014/main" id="{D11196AF-7CF1-409D-B002-C133E24F5660}"/>
              </a:ext>
            </a:extLst>
          </p:cNvPr>
          <p:cNvSpPr>
            <a:spLocks noGrp="1"/>
          </p:cNvSpPr>
          <p:nvPr>
            <p:ph type="body" sz="quarter" idx="17" hasCustomPrompt="1"/>
          </p:nvPr>
        </p:nvSpPr>
        <p:spPr>
          <a:xfrm>
            <a:off x="0" y="4734106"/>
            <a:ext cx="4572000" cy="222878"/>
          </a:xfrm>
          <a:prstGeom prst="rect">
            <a:avLst/>
          </a:prstGeom>
        </p:spPr>
        <p:txBody>
          <a:bodyPr anchor="ctr"/>
          <a:lstStyle>
            <a:lvl1pPr marL="0" indent="0" algn="l">
              <a:buFontTx/>
              <a:buNone/>
              <a:defRPr sz="600" b="0" i="0">
                <a:solidFill>
                  <a:schemeClr val="bg2">
                    <a:lumMod val="50000"/>
                  </a:schemeClr>
                </a:solidFill>
                <a:latin typeface="Nexa Book" panose="00000400000000000000" pitchFamily="50" charset="0"/>
              </a:defRPr>
            </a:lvl1pPr>
          </a:lstStyle>
          <a:p>
            <a:pPr marL="171446" marR="0" lvl="0" indent="-171446" algn="l" defTabSz="685783"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a:t>SOURCE: Data Source A | Description</a:t>
            </a:r>
          </a:p>
        </p:txBody>
      </p:sp>
      <p:sp>
        <p:nvSpPr>
          <p:cNvPr id="3" name="Body Text">
            <a:extLst>
              <a:ext uri="{FF2B5EF4-FFF2-40B4-BE49-F238E27FC236}">
                <a16:creationId xmlns:a16="http://schemas.microsoft.com/office/drawing/2014/main" id="{5446AF47-9EBE-4421-8258-0A215D9609B0}"/>
              </a:ext>
            </a:extLst>
          </p:cNvPr>
          <p:cNvSpPr>
            <a:spLocks noGrp="1"/>
          </p:cNvSpPr>
          <p:nvPr>
            <p:ph idx="1"/>
          </p:nvPr>
        </p:nvSpPr>
        <p:spPr>
          <a:xfrm>
            <a:off x="503238" y="1134000"/>
            <a:ext cx="8136762" cy="3600000"/>
          </a:xfrm>
          <a:prstGeom prst="rect">
            <a:avLst/>
          </a:prstGeom>
        </p:spPr>
        <p:txBody>
          <a:bodyPr/>
          <a:lstStyle>
            <a:lvl1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a:spcBef>
                <a:spcPts val="450"/>
              </a:spcBef>
              <a:defRPr sz="10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2pPr>
            <a:lvl3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3pPr>
            <a:lvl4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4pPr>
            <a:lvl5pPr>
              <a:spcBef>
                <a:spcPts val="450"/>
              </a:spcBef>
              <a:defRPr sz="800" b="0" i="0">
                <a:solidFill>
                  <a:srgbClr val="575656"/>
                </a:solidFill>
                <a:latin typeface="Nexa Book" panose="00000400000000000000" pitchFamily="50"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Subtitle">
            <a:extLst>
              <a:ext uri="{FF2B5EF4-FFF2-40B4-BE49-F238E27FC236}">
                <a16:creationId xmlns:a16="http://schemas.microsoft.com/office/drawing/2014/main" id="{057CA846-FB7A-4807-6D6F-596D301018CF}"/>
              </a:ext>
            </a:extLst>
          </p:cNvPr>
          <p:cNvSpPr>
            <a:spLocks noGrp="1"/>
          </p:cNvSpPr>
          <p:nvPr>
            <p:ph type="body" sz="quarter" idx="18" hasCustomPrompt="1"/>
          </p:nvPr>
        </p:nvSpPr>
        <p:spPr>
          <a:xfrm>
            <a:off x="504000" y="774000"/>
            <a:ext cx="8136000" cy="360000"/>
          </a:xfrm>
          <a:prstGeom prst="rect">
            <a:avLst/>
          </a:prstGeom>
        </p:spPr>
        <p:txBody>
          <a:bodyPr tIns="36000" bIns="36000">
            <a:noAutofit/>
          </a:bodyPr>
          <a:lstStyle>
            <a:lvl1pPr marL="0" indent="0">
              <a:spcBef>
                <a:spcPts val="0"/>
              </a:spcBef>
              <a:buNone/>
              <a:defRPr sz="1200" b="0" i="0">
                <a:solidFill>
                  <a:schemeClr val="tx2"/>
                </a:solidFill>
                <a:latin typeface="+mj-lt"/>
              </a:defRPr>
            </a:lvl1pPr>
          </a:lstStyle>
          <a:p>
            <a:pPr lvl="0"/>
            <a:r>
              <a:rPr lang="nl-NL" err="1"/>
              <a:t>Subtitle</a:t>
            </a:r>
            <a:r>
              <a:rPr lang="nl-NL"/>
              <a:t> | Chart </a:t>
            </a:r>
            <a:r>
              <a:rPr lang="nl-NL" err="1"/>
              <a:t>Title</a:t>
            </a:r>
            <a:endParaRPr lang="nl-NL"/>
          </a:p>
        </p:txBody>
      </p:sp>
      <p:sp>
        <p:nvSpPr>
          <p:cNvPr id="8" name="Title 7">
            <a:extLst>
              <a:ext uri="{FF2B5EF4-FFF2-40B4-BE49-F238E27FC236}">
                <a16:creationId xmlns:a16="http://schemas.microsoft.com/office/drawing/2014/main" id="{C4FC148B-7FD8-9862-4647-16E08A50CD24}"/>
              </a:ext>
            </a:extLst>
          </p:cNvPr>
          <p:cNvSpPr>
            <a:spLocks noGrp="1"/>
          </p:cNvSpPr>
          <p:nvPr>
            <p:ph type="title"/>
          </p:nvPr>
        </p:nvSpPr>
        <p:spPr/>
        <p:txBody>
          <a:bodyPr vert="horz"/>
          <a:lstStyle>
            <a:lvl1pPr>
              <a:defRPr/>
            </a:lvl1pPr>
          </a:lstStyle>
          <a:p>
            <a:r>
              <a:rPr lang="en-US"/>
              <a:t>Click to edit Master title style</a:t>
            </a:r>
          </a:p>
        </p:txBody>
      </p:sp>
    </p:spTree>
    <p:extLst>
      <p:ext uri="{BB962C8B-B14F-4D97-AF65-F5344CB8AC3E}">
        <p14:creationId xmlns:p14="http://schemas.microsoft.com/office/powerpoint/2010/main" val="245638898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tags" Target="../tags/tag1.xml"/><Relationship Id="rId27" Type="http://schemas.openxmlformats.org/officeDocument/2006/relationships/oleObject" Target="../embeddings/oleObject1.bin"/><Relationship Id="rId2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B55A09-2FE0-B548-9BFA-25B9AFB863C5}"/>
              </a:ext>
            </a:extLst>
          </p:cNvPr>
          <p:cNvGraphicFramePr>
            <a:graphicFrameLocks noChangeAspect="1"/>
          </p:cNvGraphicFramePr>
          <p:nvPr>
            <p:custDataLst>
              <p:tags r:id="rId26"/>
            </p:custDataLst>
            <p:extLst>
              <p:ext uri="{D42A27DB-BD31-4B8C-83A1-F6EECF244321}">
                <p14:modId xmlns:p14="http://schemas.microsoft.com/office/powerpoint/2010/main" val="2164206641"/>
              </p:ext>
            </p:extLst>
          </p:nvPr>
        </p:nvGraphicFramePr>
        <p:xfrm>
          <a:off x="1192" y="1192"/>
          <a:ext cx="920" cy="1191"/>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AB55A09-2FE0-B548-9BFA-25B9AFB863C5}"/>
                          </a:ext>
                        </a:extLst>
                      </p:cNvPr>
                      <p:cNvPicPr/>
                      <p:nvPr/>
                    </p:nvPicPr>
                    <p:blipFill>
                      <a:blip r:embed="rId28"/>
                      <a:stretch>
                        <a:fillRect/>
                      </a:stretch>
                    </p:blipFill>
                    <p:spPr>
                      <a:xfrm>
                        <a:off x="1192" y="1192"/>
                        <a:ext cx="920" cy="1191"/>
                      </a:xfrm>
                      <a:prstGeom prst="rect">
                        <a:avLst/>
                      </a:prstGeom>
                    </p:spPr>
                  </p:pic>
                </p:oleObj>
              </mc:Fallback>
            </mc:AlternateContent>
          </a:graphicData>
        </a:graphic>
      </p:graphicFrame>
      <p:grpSp>
        <p:nvGrpSpPr>
          <p:cNvPr id="81" name="PricingOne Logo Long">
            <a:extLst>
              <a:ext uri="{FF2B5EF4-FFF2-40B4-BE49-F238E27FC236}">
                <a16:creationId xmlns:a16="http://schemas.microsoft.com/office/drawing/2014/main" id="{1D1F248E-9E39-4E68-7F5C-2EF41A7A72B8}"/>
              </a:ext>
            </a:extLst>
          </p:cNvPr>
          <p:cNvGrpSpPr>
            <a:grpSpLocks/>
          </p:cNvGrpSpPr>
          <p:nvPr/>
        </p:nvGrpSpPr>
        <p:grpSpPr>
          <a:xfrm>
            <a:off x="2337" y="4972051"/>
            <a:ext cx="544631" cy="177438"/>
            <a:chOff x="2337" y="4972051"/>
            <a:chExt cx="544631" cy="177438"/>
          </a:xfrm>
        </p:grpSpPr>
        <p:sp>
          <p:nvSpPr>
            <p:cNvPr id="80" name="Cube">
              <a:extLst>
                <a:ext uri="{FF2B5EF4-FFF2-40B4-BE49-F238E27FC236}">
                  <a16:creationId xmlns:a16="http://schemas.microsoft.com/office/drawing/2014/main" id="{0CCE463F-A486-8ABE-ABC9-1772FCDA1AFB}"/>
                </a:ext>
              </a:extLst>
            </p:cNvPr>
            <p:cNvSpPr>
              <a:spLocks/>
            </p:cNvSpPr>
            <p:nvPr/>
          </p:nvSpPr>
          <p:spPr>
            <a:xfrm>
              <a:off x="50674" y="5065213"/>
              <a:ext cx="61868" cy="70211"/>
            </a:xfrm>
            <a:custGeom>
              <a:avLst/>
              <a:gdLst>
                <a:gd name="connsiteX0" fmla="*/ 61833 w 61868"/>
                <a:gd name="connsiteY0" fmla="*/ 20098 h 70211"/>
                <a:gd name="connsiteX1" fmla="*/ 61833 w 61868"/>
                <a:gd name="connsiteY1" fmla="*/ 21483 h 70211"/>
                <a:gd name="connsiteX2" fmla="*/ 61868 w 61868"/>
                <a:gd name="connsiteY2" fmla="*/ 52347 h 70211"/>
                <a:gd name="connsiteX3" fmla="*/ 60803 w 61868"/>
                <a:gd name="connsiteY3" fmla="*/ 54158 h 70211"/>
                <a:gd name="connsiteX4" fmla="*/ 33775 w 61868"/>
                <a:gd name="connsiteY4" fmla="*/ 69749 h 70211"/>
                <a:gd name="connsiteX5" fmla="*/ 32923 w 61868"/>
                <a:gd name="connsiteY5" fmla="*/ 70211 h 70211"/>
                <a:gd name="connsiteX6" fmla="*/ 32852 w 61868"/>
                <a:gd name="connsiteY6" fmla="*/ 68932 h 70211"/>
                <a:gd name="connsiteX7" fmla="*/ 32852 w 61868"/>
                <a:gd name="connsiteY7" fmla="*/ 37927 h 70211"/>
                <a:gd name="connsiteX8" fmla="*/ 33705 w 61868"/>
                <a:gd name="connsiteY8" fmla="*/ 36258 h 70211"/>
                <a:gd name="connsiteX9" fmla="*/ 60448 w 61868"/>
                <a:gd name="connsiteY9" fmla="*/ 20880 h 70211"/>
                <a:gd name="connsiteX10" fmla="*/ 61833 w 61868"/>
                <a:gd name="connsiteY10" fmla="*/ 20098 h 70211"/>
                <a:gd name="connsiteX11" fmla="*/ 71 w 61868"/>
                <a:gd name="connsiteY11" fmla="*/ 20063 h 70211"/>
                <a:gd name="connsiteX12" fmla="*/ 7849 w 61868"/>
                <a:gd name="connsiteY12" fmla="*/ 24539 h 70211"/>
                <a:gd name="connsiteX13" fmla="*/ 27951 w 61868"/>
                <a:gd name="connsiteY13" fmla="*/ 36152 h 70211"/>
                <a:gd name="connsiteX14" fmla="*/ 29052 w 61868"/>
                <a:gd name="connsiteY14" fmla="*/ 37679 h 70211"/>
                <a:gd name="connsiteX15" fmla="*/ 29016 w 61868"/>
                <a:gd name="connsiteY15" fmla="*/ 69395 h 70211"/>
                <a:gd name="connsiteX16" fmla="*/ 28981 w 61868"/>
                <a:gd name="connsiteY16" fmla="*/ 70141 h 70211"/>
                <a:gd name="connsiteX17" fmla="*/ 28093 w 61868"/>
                <a:gd name="connsiteY17" fmla="*/ 69714 h 70211"/>
                <a:gd name="connsiteX18" fmla="*/ 781 w 61868"/>
                <a:gd name="connsiteY18" fmla="*/ 53910 h 70211"/>
                <a:gd name="connsiteX19" fmla="*/ 35 w 61868"/>
                <a:gd name="connsiteY19" fmla="*/ 52738 h 70211"/>
                <a:gd name="connsiteX20" fmla="*/ 0 w 61868"/>
                <a:gd name="connsiteY20" fmla="*/ 20667 h 70211"/>
                <a:gd name="connsiteX21" fmla="*/ 71 w 61868"/>
                <a:gd name="connsiteY21" fmla="*/ 20063 h 70211"/>
                <a:gd name="connsiteX22" fmla="*/ 32249 w 61868"/>
                <a:gd name="connsiteY22" fmla="*/ 423 h 70211"/>
                <a:gd name="connsiteX23" fmla="*/ 58495 w 61868"/>
                <a:gd name="connsiteY23" fmla="*/ 15623 h 70211"/>
                <a:gd name="connsiteX24" fmla="*/ 59844 w 61868"/>
                <a:gd name="connsiteY24" fmla="*/ 16476 h 70211"/>
                <a:gd name="connsiteX25" fmla="*/ 51533 w 61868"/>
                <a:gd name="connsiteY25" fmla="*/ 21306 h 70211"/>
                <a:gd name="connsiteX26" fmla="*/ 31858 w 61868"/>
                <a:gd name="connsiteY26" fmla="*/ 32671 h 70211"/>
                <a:gd name="connsiteX27" fmla="*/ 29869 w 61868"/>
                <a:gd name="connsiteY27" fmla="*/ 32636 h 70211"/>
                <a:gd name="connsiteX28" fmla="*/ 3090 w 61868"/>
                <a:gd name="connsiteY28" fmla="*/ 17150 h 70211"/>
                <a:gd name="connsiteX29" fmla="*/ 1954 w 61868"/>
                <a:gd name="connsiteY29" fmla="*/ 16405 h 70211"/>
                <a:gd name="connsiteX30" fmla="*/ 9377 w 61868"/>
                <a:gd name="connsiteY30" fmla="*/ 12072 h 70211"/>
                <a:gd name="connsiteX31" fmla="*/ 29478 w 61868"/>
                <a:gd name="connsiteY31" fmla="*/ 458 h 70211"/>
                <a:gd name="connsiteX32" fmla="*/ 32249 w 61868"/>
                <a:gd name="connsiteY32" fmla="*/ 423 h 7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868" h="70211">
                  <a:moveTo>
                    <a:pt x="61833" y="20098"/>
                  </a:moveTo>
                  <a:cubicBezTo>
                    <a:pt x="61833" y="20667"/>
                    <a:pt x="61833" y="21057"/>
                    <a:pt x="61833" y="21483"/>
                  </a:cubicBezTo>
                  <a:cubicBezTo>
                    <a:pt x="61833" y="31783"/>
                    <a:pt x="61833" y="42082"/>
                    <a:pt x="61868" y="52347"/>
                  </a:cubicBezTo>
                  <a:cubicBezTo>
                    <a:pt x="61868" y="53235"/>
                    <a:pt x="61584" y="53696"/>
                    <a:pt x="60803" y="54158"/>
                  </a:cubicBezTo>
                  <a:cubicBezTo>
                    <a:pt x="51782" y="59343"/>
                    <a:pt x="42761" y="64528"/>
                    <a:pt x="33775" y="69749"/>
                  </a:cubicBezTo>
                  <a:cubicBezTo>
                    <a:pt x="33527" y="69891"/>
                    <a:pt x="33278" y="69998"/>
                    <a:pt x="32923" y="70211"/>
                  </a:cubicBezTo>
                  <a:cubicBezTo>
                    <a:pt x="32887" y="69714"/>
                    <a:pt x="32852" y="69323"/>
                    <a:pt x="32852" y="68932"/>
                  </a:cubicBezTo>
                  <a:cubicBezTo>
                    <a:pt x="32852" y="58597"/>
                    <a:pt x="32852" y="48262"/>
                    <a:pt x="32852" y="37927"/>
                  </a:cubicBezTo>
                  <a:cubicBezTo>
                    <a:pt x="32852" y="37181"/>
                    <a:pt x="32959" y="36684"/>
                    <a:pt x="33705" y="36258"/>
                  </a:cubicBezTo>
                  <a:cubicBezTo>
                    <a:pt x="42619" y="31143"/>
                    <a:pt x="51533" y="25994"/>
                    <a:pt x="60448" y="20880"/>
                  </a:cubicBezTo>
                  <a:cubicBezTo>
                    <a:pt x="60803" y="20595"/>
                    <a:pt x="61229" y="20382"/>
                    <a:pt x="61833" y="20098"/>
                  </a:cubicBezTo>
                  <a:close/>
                  <a:moveTo>
                    <a:pt x="71" y="20063"/>
                  </a:moveTo>
                  <a:cubicBezTo>
                    <a:pt x="2770" y="21626"/>
                    <a:pt x="5327" y="23082"/>
                    <a:pt x="7849" y="24539"/>
                  </a:cubicBezTo>
                  <a:cubicBezTo>
                    <a:pt x="14561" y="28409"/>
                    <a:pt x="21238" y="32281"/>
                    <a:pt x="27951" y="36152"/>
                  </a:cubicBezTo>
                  <a:cubicBezTo>
                    <a:pt x="28555" y="36507"/>
                    <a:pt x="29052" y="36791"/>
                    <a:pt x="29052" y="37679"/>
                  </a:cubicBezTo>
                  <a:cubicBezTo>
                    <a:pt x="29016" y="48263"/>
                    <a:pt x="29016" y="58811"/>
                    <a:pt x="29016" y="69395"/>
                  </a:cubicBezTo>
                  <a:cubicBezTo>
                    <a:pt x="29016" y="69608"/>
                    <a:pt x="28981" y="69785"/>
                    <a:pt x="28981" y="70141"/>
                  </a:cubicBezTo>
                  <a:cubicBezTo>
                    <a:pt x="28625" y="69998"/>
                    <a:pt x="28342" y="69857"/>
                    <a:pt x="28093" y="69714"/>
                  </a:cubicBezTo>
                  <a:cubicBezTo>
                    <a:pt x="18965" y="64458"/>
                    <a:pt x="9873" y="59202"/>
                    <a:pt x="781" y="53910"/>
                  </a:cubicBezTo>
                  <a:cubicBezTo>
                    <a:pt x="426" y="53697"/>
                    <a:pt x="35" y="53129"/>
                    <a:pt x="35" y="52738"/>
                  </a:cubicBezTo>
                  <a:cubicBezTo>
                    <a:pt x="0" y="42047"/>
                    <a:pt x="0" y="31358"/>
                    <a:pt x="0" y="20667"/>
                  </a:cubicBezTo>
                  <a:cubicBezTo>
                    <a:pt x="0" y="20561"/>
                    <a:pt x="35" y="20419"/>
                    <a:pt x="71" y="20063"/>
                  </a:cubicBezTo>
                  <a:close/>
                  <a:moveTo>
                    <a:pt x="32249" y="423"/>
                  </a:moveTo>
                  <a:cubicBezTo>
                    <a:pt x="40985" y="5537"/>
                    <a:pt x="49758" y="10545"/>
                    <a:pt x="58495" y="15623"/>
                  </a:cubicBezTo>
                  <a:cubicBezTo>
                    <a:pt x="58921" y="15872"/>
                    <a:pt x="59312" y="16121"/>
                    <a:pt x="59844" y="16476"/>
                  </a:cubicBezTo>
                  <a:cubicBezTo>
                    <a:pt x="56968" y="18145"/>
                    <a:pt x="54233" y="19743"/>
                    <a:pt x="51533" y="21306"/>
                  </a:cubicBezTo>
                  <a:cubicBezTo>
                    <a:pt x="44963" y="25106"/>
                    <a:pt x="38393" y="28871"/>
                    <a:pt x="31858" y="32671"/>
                  </a:cubicBezTo>
                  <a:cubicBezTo>
                    <a:pt x="31112" y="33098"/>
                    <a:pt x="30615" y="33062"/>
                    <a:pt x="29869" y="32636"/>
                  </a:cubicBezTo>
                  <a:cubicBezTo>
                    <a:pt x="20954" y="27450"/>
                    <a:pt x="12005" y="22301"/>
                    <a:pt x="3090" y="17150"/>
                  </a:cubicBezTo>
                  <a:cubicBezTo>
                    <a:pt x="2771" y="16937"/>
                    <a:pt x="2451" y="16689"/>
                    <a:pt x="1954" y="16405"/>
                  </a:cubicBezTo>
                  <a:cubicBezTo>
                    <a:pt x="4511" y="14913"/>
                    <a:pt x="6962" y="13493"/>
                    <a:pt x="9377" y="12072"/>
                  </a:cubicBezTo>
                  <a:cubicBezTo>
                    <a:pt x="16089" y="8201"/>
                    <a:pt x="22802" y="4365"/>
                    <a:pt x="29478" y="458"/>
                  </a:cubicBezTo>
                  <a:cubicBezTo>
                    <a:pt x="30473" y="-110"/>
                    <a:pt x="31183" y="-181"/>
                    <a:pt x="32249" y="423"/>
                  </a:cubicBezTo>
                  <a:close/>
                </a:path>
              </a:pathLst>
            </a:custGeom>
            <a:solidFill>
              <a:srgbClr val="00A099"/>
            </a:solidFill>
            <a:ln w="438"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57" name="O">
              <a:extLst>
                <a:ext uri="{FF2B5EF4-FFF2-40B4-BE49-F238E27FC236}">
                  <a16:creationId xmlns:a16="http://schemas.microsoft.com/office/drawing/2014/main" id="{25DC3EF2-DEDC-B6EF-686D-9F9D99B5B245}"/>
                </a:ext>
              </a:extLst>
            </p:cNvPr>
            <p:cNvSpPr>
              <a:spLocks/>
            </p:cNvSpPr>
            <p:nvPr/>
          </p:nvSpPr>
          <p:spPr>
            <a:xfrm>
              <a:off x="71832" y="5074927"/>
              <a:ext cx="20777" cy="12067"/>
            </a:xfrm>
            <a:custGeom>
              <a:avLst/>
              <a:gdLst>
                <a:gd name="connsiteX0" fmla="*/ 24353 w 27703"/>
                <a:gd name="connsiteY0" fmla="*/ 11146 h 16089"/>
                <a:gd name="connsiteX1" fmla="*/ 21843 w 27703"/>
                <a:gd name="connsiteY1" fmla="*/ 12662 h 16089"/>
                <a:gd name="connsiteX2" fmla="*/ 19238 w 27703"/>
                <a:gd name="connsiteY2" fmla="*/ 14130 h 16089"/>
                <a:gd name="connsiteX3" fmla="*/ 14266 w 27703"/>
                <a:gd name="connsiteY3" fmla="*/ 15834 h 16089"/>
                <a:gd name="connsiteX4" fmla="*/ 8773 w 27703"/>
                <a:gd name="connsiteY4" fmla="*/ 15882 h 16089"/>
                <a:gd name="connsiteX5" fmla="*/ 3517 w 27703"/>
                <a:gd name="connsiteY5" fmla="*/ 14035 h 16089"/>
                <a:gd name="connsiteX6" fmla="*/ 344 w 27703"/>
                <a:gd name="connsiteY6" fmla="*/ 11004 h 16089"/>
                <a:gd name="connsiteX7" fmla="*/ 439 w 27703"/>
                <a:gd name="connsiteY7" fmla="*/ 7832 h 16089"/>
                <a:gd name="connsiteX8" fmla="*/ 3375 w 27703"/>
                <a:gd name="connsiteY8" fmla="*/ 4943 h 16089"/>
                <a:gd name="connsiteX9" fmla="*/ 5885 w 27703"/>
                <a:gd name="connsiteY9" fmla="*/ 3428 h 16089"/>
                <a:gd name="connsiteX10" fmla="*/ 8442 w 27703"/>
                <a:gd name="connsiteY10" fmla="*/ 1960 h 16089"/>
                <a:gd name="connsiteX11" fmla="*/ 13367 w 27703"/>
                <a:gd name="connsiteY11" fmla="*/ 255 h 16089"/>
                <a:gd name="connsiteX12" fmla="*/ 18860 w 27703"/>
                <a:gd name="connsiteY12" fmla="*/ 208 h 16089"/>
                <a:gd name="connsiteX13" fmla="*/ 24116 w 27703"/>
                <a:gd name="connsiteY13" fmla="*/ 2054 h 16089"/>
                <a:gd name="connsiteX14" fmla="*/ 27336 w 27703"/>
                <a:gd name="connsiteY14" fmla="*/ 5085 h 16089"/>
                <a:gd name="connsiteX15" fmla="*/ 27289 w 27703"/>
                <a:gd name="connsiteY15" fmla="*/ 8258 h 16089"/>
                <a:gd name="connsiteX16" fmla="*/ 24353 w 27703"/>
                <a:gd name="connsiteY16" fmla="*/ 11146 h 16089"/>
                <a:gd name="connsiteX17" fmla="*/ 16681 w 27703"/>
                <a:gd name="connsiteY17" fmla="*/ 12425 h 16089"/>
                <a:gd name="connsiteX18" fmla="*/ 19144 w 27703"/>
                <a:gd name="connsiteY18" fmla="*/ 11052 h 16089"/>
                <a:gd name="connsiteX19" fmla="*/ 21511 w 27703"/>
                <a:gd name="connsiteY19" fmla="*/ 9631 h 16089"/>
                <a:gd name="connsiteX20" fmla="*/ 23974 w 27703"/>
                <a:gd name="connsiteY20" fmla="*/ 6458 h 16089"/>
                <a:gd name="connsiteX21" fmla="*/ 21606 w 27703"/>
                <a:gd name="connsiteY21" fmla="*/ 3522 h 16089"/>
                <a:gd name="connsiteX22" fmla="*/ 16539 w 27703"/>
                <a:gd name="connsiteY22" fmla="*/ 2149 h 16089"/>
                <a:gd name="connsiteX23" fmla="*/ 11046 w 27703"/>
                <a:gd name="connsiteY23" fmla="*/ 3617 h 16089"/>
                <a:gd name="connsiteX24" fmla="*/ 8631 w 27703"/>
                <a:gd name="connsiteY24" fmla="*/ 4990 h 16089"/>
                <a:gd name="connsiteX25" fmla="*/ 6263 w 27703"/>
                <a:gd name="connsiteY25" fmla="*/ 6411 h 16089"/>
                <a:gd name="connsiteX26" fmla="*/ 3801 w 27703"/>
                <a:gd name="connsiteY26" fmla="*/ 9584 h 16089"/>
                <a:gd name="connsiteX27" fmla="*/ 6169 w 27703"/>
                <a:gd name="connsiteY27" fmla="*/ 12520 h 16089"/>
                <a:gd name="connsiteX28" fmla="*/ 11236 w 27703"/>
                <a:gd name="connsiteY28" fmla="*/ 13893 h 16089"/>
                <a:gd name="connsiteX29" fmla="*/ 16681 w 27703"/>
                <a:gd name="connsiteY29" fmla="*/ 12425 h 1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7703" h="16089">
                  <a:moveTo>
                    <a:pt x="24353" y="11146"/>
                  </a:moveTo>
                  <a:cubicBezTo>
                    <a:pt x="23264" y="11809"/>
                    <a:pt x="22411" y="12330"/>
                    <a:pt x="21843" y="12662"/>
                  </a:cubicBezTo>
                  <a:cubicBezTo>
                    <a:pt x="21275" y="12993"/>
                    <a:pt x="20422" y="13467"/>
                    <a:pt x="19238" y="14130"/>
                  </a:cubicBezTo>
                  <a:cubicBezTo>
                    <a:pt x="17723" y="14935"/>
                    <a:pt x="16066" y="15503"/>
                    <a:pt x="14266" y="15834"/>
                  </a:cubicBezTo>
                  <a:cubicBezTo>
                    <a:pt x="12467" y="16166"/>
                    <a:pt x="10620" y="16166"/>
                    <a:pt x="8773" y="15882"/>
                  </a:cubicBezTo>
                  <a:cubicBezTo>
                    <a:pt x="6926" y="15598"/>
                    <a:pt x="5174" y="14982"/>
                    <a:pt x="3517" y="14035"/>
                  </a:cubicBezTo>
                  <a:cubicBezTo>
                    <a:pt x="1907" y="13088"/>
                    <a:pt x="818" y="12093"/>
                    <a:pt x="344" y="11004"/>
                  </a:cubicBezTo>
                  <a:cubicBezTo>
                    <a:pt x="-129" y="9915"/>
                    <a:pt x="-129" y="8873"/>
                    <a:pt x="439" y="7832"/>
                  </a:cubicBezTo>
                  <a:cubicBezTo>
                    <a:pt x="1007" y="6790"/>
                    <a:pt x="1954" y="5843"/>
                    <a:pt x="3375" y="4943"/>
                  </a:cubicBezTo>
                  <a:cubicBezTo>
                    <a:pt x="3943" y="4611"/>
                    <a:pt x="4748" y="4091"/>
                    <a:pt x="5885" y="3428"/>
                  </a:cubicBezTo>
                  <a:cubicBezTo>
                    <a:pt x="7021" y="2765"/>
                    <a:pt x="7873" y="2291"/>
                    <a:pt x="8442" y="1960"/>
                  </a:cubicBezTo>
                  <a:cubicBezTo>
                    <a:pt x="9910" y="1155"/>
                    <a:pt x="11567" y="586"/>
                    <a:pt x="13367" y="255"/>
                  </a:cubicBezTo>
                  <a:cubicBezTo>
                    <a:pt x="15166" y="-77"/>
                    <a:pt x="17013" y="-77"/>
                    <a:pt x="18860" y="208"/>
                  </a:cubicBezTo>
                  <a:cubicBezTo>
                    <a:pt x="20754" y="492"/>
                    <a:pt x="22506" y="1107"/>
                    <a:pt x="24116" y="2054"/>
                  </a:cubicBezTo>
                  <a:cubicBezTo>
                    <a:pt x="25773" y="3001"/>
                    <a:pt x="26815" y="3996"/>
                    <a:pt x="27336" y="5085"/>
                  </a:cubicBezTo>
                  <a:cubicBezTo>
                    <a:pt x="27857" y="6174"/>
                    <a:pt x="27810" y="7216"/>
                    <a:pt x="27289" y="8258"/>
                  </a:cubicBezTo>
                  <a:cubicBezTo>
                    <a:pt x="26768" y="9300"/>
                    <a:pt x="25773" y="10247"/>
                    <a:pt x="24353" y="11146"/>
                  </a:cubicBezTo>
                  <a:close/>
                  <a:moveTo>
                    <a:pt x="16681" y="12425"/>
                  </a:moveTo>
                  <a:cubicBezTo>
                    <a:pt x="17865" y="11762"/>
                    <a:pt x="18670" y="11336"/>
                    <a:pt x="19144" y="11052"/>
                  </a:cubicBezTo>
                  <a:cubicBezTo>
                    <a:pt x="19617" y="10768"/>
                    <a:pt x="20375" y="10294"/>
                    <a:pt x="21511" y="9631"/>
                  </a:cubicBezTo>
                  <a:cubicBezTo>
                    <a:pt x="23216" y="8589"/>
                    <a:pt x="24021" y="7500"/>
                    <a:pt x="23974" y="6458"/>
                  </a:cubicBezTo>
                  <a:cubicBezTo>
                    <a:pt x="23926" y="5416"/>
                    <a:pt x="23121" y="4422"/>
                    <a:pt x="21606" y="3522"/>
                  </a:cubicBezTo>
                  <a:cubicBezTo>
                    <a:pt x="20091" y="2623"/>
                    <a:pt x="18386" y="2196"/>
                    <a:pt x="16539" y="2149"/>
                  </a:cubicBezTo>
                  <a:cubicBezTo>
                    <a:pt x="14692" y="2149"/>
                    <a:pt x="12893" y="2623"/>
                    <a:pt x="11046" y="3617"/>
                  </a:cubicBezTo>
                  <a:cubicBezTo>
                    <a:pt x="10431" y="3949"/>
                    <a:pt x="9626" y="4375"/>
                    <a:pt x="8631" y="4990"/>
                  </a:cubicBezTo>
                  <a:cubicBezTo>
                    <a:pt x="7589" y="5606"/>
                    <a:pt x="6784" y="6079"/>
                    <a:pt x="6263" y="6411"/>
                  </a:cubicBezTo>
                  <a:cubicBezTo>
                    <a:pt x="4559" y="7453"/>
                    <a:pt x="3754" y="8542"/>
                    <a:pt x="3801" y="9584"/>
                  </a:cubicBezTo>
                  <a:cubicBezTo>
                    <a:pt x="3848" y="10625"/>
                    <a:pt x="4653" y="11620"/>
                    <a:pt x="6169" y="12520"/>
                  </a:cubicBezTo>
                  <a:cubicBezTo>
                    <a:pt x="7684" y="13419"/>
                    <a:pt x="9389" y="13846"/>
                    <a:pt x="11236" y="13893"/>
                  </a:cubicBezTo>
                  <a:cubicBezTo>
                    <a:pt x="13035" y="13893"/>
                    <a:pt x="14834" y="13419"/>
                    <a:pt x="16681" y="12425"/>
                  </a:cubicBezTo>
                </a:path>
              </a:pathLst>
            </a:custGeom>
            <a:solidFill>
              <a:srgbClr val="DCDCDC"/>
            </a:solidFill>
            <a:ln w="438" cap="flat">
              <a:noFill/>
              <a:prstDash val="solid"/>
              <a:miter/>
            </a:ln>
          </p:spPr>
          <p:txBody>
            <a:bodyPr rtlCol="0" anchor="ctr"/>
            <a:lstStyle/>
            <a:p>
              <a:endParaRPr lang="en-US" sz="1013" b="0" i="0">
                <a:latin typeface="Nexa Book" pitchFamily="2" charset="77"/>
              </a:endParaRPr>
            </a:p>
          </p:txBody>
        </p:sp>
        <p:sp>
          <p:nvSpPr>
            <p:cNvPr id="58" name="N">
              <a:extLst>
                <a:ext uri="{FF2B5EF4-FFF2-40B4-BE49-F238E27FC236}">
                  <a16:creationId xmlns:a16="http://schemas.microsoft.com/office/drawing/2014/main" id="{A96731E9-8209-3E5B-A834-4D0DD85390F0}"/>
                </a:ext>
              </a:extLst>
            </p:cNvPr>
            <p:cNvSpPr>
              <a:spLocks/>
            </p:cNvSpPr>
            <p:nvPr/>
          </p:nvSpPr>
          <p:spPr>
            <a:xfrm>
              <a:off x="58346" y="5098876"/>
              <a:ext cx="11365" cy="23375"/>
            </a:xfrm>
            <a:custGeom>
              <a:avLst/>
              <a:gdLst>
                <a:gd name="connsiteX0" fmla="*/ 14348 w 15153"/>
                <a:gd name="connsiteY0" fmla="*/ 7912 h 31167"/>
                <a:gd name="connsiteX1" fmla="*/ 14917 w 15153"/>
                <a:gd name="connsiteY1" fmla="*/ 8481 h 31167"/>
                <a:gd name="connsiteX2" fmla="*/ 15153 w 15153"/>
                <a:gd name="connsiteY2" fmla="*/ 9238 h 31167"/>
                <a:gd name="connsiteX3" fmla="*/ 15106 w 15153"/>
                <a:gd name="connsiteY3" fmla="*/ 30643 h 31167"/>
                <a:gd name="connsiteX4" fmla="*/ 14869 w 15153"/>
                <a:gd name="connsiteY4" fmla="*/ 31116 h 31167"/>
                <a:gd name="connsiteX5" fmla="*/ 14301 w 15153"/>
                <a:gd name="connsiteY5" fmla="*/ 31069 h 31167"/>
                <a:gd name="connsiteX6" fmla="*/ 13307 w 15153"/>
                <a:gd name="connsiteY6" fmla="*/ 30500 h 31167"/>
                <a:gd name="connsiteX7" fmla="*/ 12691 w 15153"/>
                <a:gd name="connsiteY7" fmla="*/ 29885 h 31167"/>
                <a:gd name="connsiteX8" fmla="*/ 12170 w 15153"/>
                <a:gd name="connsiteY8" fmla="*/ 28843 h 31167"/>
                <a:gd name="connsiteX9" fmla="*/ 2841 w 15153"/>
                <a:gd name="connsiteY9" fmla="*/ 7250 h 31167"/>
                <a:gd name="connsiteX10" fmla="*/ 2794 w 15153"/>
                <a:gd name="connsiteY10" fmla="*/ 23539 h 31167"/>
                <a:gd name="connsiteX11" fmla="*/ 2557 w 15153"/>
                <a:gd name="connsiteY11" fmla="*/ 24013 h 31167"/>
                <a:gd name="connsiteX12" fmla="*/ 1989 w 15153"/>
                <a:gd name="connsiteY12" fmla="*/ 23966 h 31167"/>
                <a:gd name="connsiteX13" fmla="*/ 805 w 15153"/>
                <a:gd name="connsiteY13" fmla="*/ 23303 h 31167"/>
                <a:gd name="connsiteX14" fmla="*/ 237 w 15153"/>
                <a:gd name="connsiteY14" fmla="*/ 22734 h 31167"/>
                <a:gd name="connsiteX15" fmla="*/ 0 w 15153"/>
                <a:gd name="connsiteY15" fmla="*/ 21977 h 31167"/>
                <a:gd name="connsiteX16" fmla="*/ 47 w 15153"/>
                <a:gd name="connsiteY16" fmla="*/ 573 h 31167"/>
                <a:gd name="connsiteX17" fmla="*/ 284 w 15153"/>
                <a:gd name="connsiteY17" fmla="*/ 52 h 31167"/>
                <a:gd name="connsiteX18" fmla="*/ 852 w 15153"/>
                <a:gd name="connsiteY18" fmla="*/ 99 h 31167"/>
                <a:gd name="connsiteX19" fmla="*/ 1847 w 15153"/>
                <a:gd name="connsiteY19" fmla="*/ 667 h 31167"/>
                <a:gd name="connsiteX20" fmla="*/ 2462 w 15153"/>
                <a:gd name="connsiteY20" fmla="*/ 1283 h 31167"/>
                <a:gd name="connsiteX21" fmla="*/ 2983 w 15153"/>
                <a:gd name="connsiteY21" fmla="*/ 2325 h 31167"/>
                <a:gd name="connsiteX22" fmla="*/ 12312 w 15153"/>
                <a:gd name="connsiteY22" fmla="*/ 23918 h 31167"/>
                <a:gd name="connsiteX23" fmla="*/ 12359 w 15153"/>
                <a:gd name="connsiteY23" fmla="*/ 7628 h 31167"/>
                <a:gd name="connsiteX24" fmla="*/ 12596 w 15153"/>
                <a:gd name="connsiteY24" fmla="*/ 7107 h 31167"/>
                <a:gd name="connsiteX25" fmla="*/ 13164 w 15153"/>
                <a:gd name="connsiteY25" fmla="*/ 7155 h 31167"/>
                <a:gd name="connsiteX26" fmla="*/ 14348 w 15153"/>
                <a:gd name="connsiteY26" fmla="*/ 7912 h 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53" h="31167">
                  <a:moveTo>
                    <a:pt x="14348" y="7912"/>
                  </a:moveTo>
                  <a:cubicBezTo>
                    <a:pt x="14538" y="8055"/>
                    <a:pt x="14727" y="8244"/>
                    <a:pt x="14917" y="8481"/>
                  </a:cubicBezTo>
                  <a:cubicBezTo>
                    <a:pt x="15059" y="8765"/>
                    <a:pt x="15153" y="9002"/>
                    <a:pt x="15153" y="9238"/>
                  </a:cubicBezTo>
                  <a:lnTo>
                    <a:pt x="15106" y="30643"/>
                  </a:lnTo>
                  <a:cubicBezTo>
                    <a:pt x="15106" y="30879"/>
                    <a:pt x="15011" y="31069"/>
                    <a:pt x="14869" y="31116"/>
                  </a:cubicBezTo>
                  <a:cubicBezTo>
                    <a:pt x="14727" y="31211"/>
                    <a:pt x="14538" y="31163"/>
                    <a:pt x="14301" y="31069"/>
                  </a:cubicBezTo>
                  <a:lnTo>
                    <a:pt x="13307" y="30500"/>
                  </a:lnTo>
                  <a:cubicBezTo>
                    <a:pt x="13070" y="30358"/>
                    <a:pt x="12833" y="30169"/>
                    <a:pt x="12691" y="29885"/>
                  </a:cubicBezTo>
                  <a:cubicBezTo>
                    <a:pt x="12501" y="29601"/>
                    <a:pt x="12359" y="29269"/>
                    <a:pt x="12170" y="28843"/>
                  </a:cubicBezTo>
                  <a:lnTo>
                    <a:pt x="2841" y="7250"/>
                  </a:lnTo>
                  <a:lnTo>
                    <a:pt x="2794" y="23539"/>
                  </a:lnTo>
                  <a:cubicBezTo>
                    <a:pt x="2794" y="23776"/>
                    <a:pt x="2699" y="23966"/>
                    <a:pt x="2557" y="24013"/>
                  </a:cubicBezTo>
                  <a:cubicBezTo>
                    <a:pt x="2415" y="24108"/>
                    <a:pt x="2226" y="24108"/>
                    <a:pt x="1989" y="23966"/>
                  </a:cubicBezTo>
                  <a:lnTo>
                    <a:pt x="805" y="23303"/>
                  </a:lnTo>
                  <a:cubicBezTo>
                    <a:pt x="616" y="23161"/>
                    <a:pt x="426" y="22971"/>
                    <a:pt x="237" y="22734"/>
                  </a:cubicBezTo>
                  <a:cubicBezTo>
                    <a:pt x="95" y="22450"/>
                    <a:pt x="0" y="22213"/>
                    <a:pt x="0" y="21977"/>
                  </a:cubicBezTo>
                  <a:lnTo>
                    <a:pt x="47" y="573"/>
                  </a:lnTo>
                  <a:cubicBezTo>
                    <a:pt x="47" y="336"/>
                    <a:pt x="142" y="146"/>
                    <a:pt x="284" y="52"/>
                  </a:cubicBezTo>
                  <a:cubicBezTo>
                    <a:pt x="426" y="-43"/>
                    <a:pt x="616" y="4"/>
                    <a:pt x="852" y="99"/>
                  </a:cubicBezTo>
                  <a:lnTo>
                    <a:pt x="1847" y="667"/>
                  </a:lnTo>
                  <a:cubicBezTo>
                    <a:pt x="2084" y="809"/>
                    <a:pt x="2320" y="1046"/>
                    <a:pt x="2462" y="1283"/>
                  </a:cubicBezTo>
                  <a:cubicBezTo>
                    <a:pt x="2652" y="1567"/>
                    <a:pt x="2794" y="1898"/>
                    <a:pt x="2983" y="2325"/>
                  </a:cubicBezTo>
                  <a:lnTo>
                    <a:pt x="12312" y="23918"/>
                  </a:lnTo>
                  <a:lnTo>
                    <a:pt x="12359" y="7628"/>
                  </a:lnTo>
                  <a:cubicBezTo>
                    <a:pt x="12359" y="7392"/>
                    <a:pt x="12454" y="7202"/>
                    <a:pt x="12596" y="7107"/>
                  </a:cubicBezTo>
                  <a:cubicBezTo>
                    <a:pt x="12738" y="7013"/>
                    <a:pt x="12928" y="7060"/>
                    <a:pt x="13164" y="7155"/>
                  </a:cubicBezTo>
                  <a:lnTo>
                    <a:pt x="14348" y="7912"/>
                  </a:lnTo>
                  <a:close/>
                </a:path>
              </a:pathLst>
            </a:custGeom>
            <a:solidFill>
              <a:srgbClr val="FFFFFF"/>
            </a:solidFill>
            <a:ln w="438" cap="flat">
              <a:noFill/>
              <a:prstDash val="solid"/>
              <a:miter/>
            </a:ln>
          </p:spPr>
          <p:txBody>
            <a:bodyPr rtlCol="0" anchor="ctr"/>
            <a:lstStyle/>
            <a:p>
              <a:endParaRPr lang="en-US" sz="1013" b="0" i="0">
                <a:latin typeface="Nexa Book" pitchFamily="2" charset="77"/>
              </a:endParaRPr>
            </a:p>
          </p:txBody>
        </p:sp>
        <p:sp>
          <p:nvSpPr>
            <p:cNvPr id="59" name="E">
              <a:extLst>
                <a:ext uri="{FF2B5EF4-FFF2-40B4-BE49-F238E27FC236}">
                  <a16:creationId xmlns:a16="http://schemas.microsoft.com/office/drawing/2014/main" id="{F36A7FE5-0EEC-85F1-612B-DCC9CF8FF7A4}"/>
                </a:ext>
              </a:extLst>
            </p:cNvPr>
            <p:cNvSpPr>
              <a:spLocks/>
            </p:cNvSpPr>
            <p:nvPr/>
          </p:nvSpPr>
          <p:spPr>
            <a:xfrm>
              <a:off x="93790" y="5100001"/>
              <a:ext cx="9908" cy="22474"/>
            </a:xfrm>
            <a:custGeom>
              <a:avLst/>
              <a:gdLst>
                <a:gd name="connsiteX0" fmla="*/ 12170 w 13211"/>
                <a:gd name="connsiteY0" fmla="*/ 113 h 29965"/>
                <a:gd name="connsiteX1" fmla="*/ 12738 w 13211"/>
                <a:gd name="connsiteY1" fmla="*/ 66 h 29965"/>
                <a:gd name="connsiteX2" fmla="*/ 12975 w 13211"/>
                <a:gd name="connsiteY2" fmla="*/ 587 h 29965"/>
                <a:gd name="connsiteX3" fmla="*/ 12975 w 13211"/>
                <a:gd name="connsiteY3" fmla="*/ 1771 h 29965"/>
                <a:gd name="connsiteX4" fmla="*/ 12738 w 13211"/>
                <a:gd name="connsiteY4" fmla="*/ 2528 h 29965"/>
                <a:gd name="connsiteX5" fmla="*/ 12170 w 13211"/>
                <a:gd name="connsiteY5" fmla="*/ 3097 h 29965"/>
                <a:gd name="connsiteX6" fmla="*/ 2699 w 13211"/>
                <a:gd name="connsiteY6" fmla="*/ 8542 h 29965"/>
                <a:gd name="connsiteX7" fmla="*/ 2699 w 13211"/>
                <a:gd name="connsiteY7" fmla="*/ 15551 h 29965"/>
                <a:gd name="connsiteX8" fmla="*/ 11507 w 13211"/>
                <a:gd name="connsiteY8" fmla="*/ 10484 h 29965"/>
                <a:gd name="connsiteX9" fmla="*/ 12075 w 13211"/>
                <a:gd name="connsiteY9" fmla="*/ 10437 h 29965"/>
                <a:gd name="connsiteX10" fmla="*/ 12312 w 13211"/>
                <a:gd name="connsiteY10" fmla="*/ 10910 h 29965"/>
                <a:gd name="connsiteX11" fmla="*/ 12312 w 13211"/>
                <a:gd name="connsiteY11" fmla="*/ 12094 h 29965"/>
                <a:gd name="connsiteX12" fmla="*/ 12075 w 13211"/>
                <a:gd name="connsiteY12" fmla="*/ 12852 h 29965"/>
                <a:gd name="connsiteX13" fmla="*/ 11507 w 13211"/>
                <a:gd name="connsiteY13" fmla="*/ 13420 h 29965"/>
                <a:gd name="connsiteX14" fmla="*/ 2747 w 13211"/>
                <a:gd name="connsiteY14" fmla="*/ 18487 h 29965"/>
                <a:gd name="connsiteX15" fmla="*/ 2747 w 13211"/>
                <a:gd name="connsiteY15" fmla="*/ 25732 h 29965"/>
                <a:gd name="connsiteX16" fmla="*/ 12407 w 13211"/>
                <a:gd name="connsiteY16" fmla="*/ 20144 h 29965"/>
                <a:gd name="connsiteX17" fmla="*/ 12975 w 13211"/>
                <a:gd name="connsiteY17" fmla="*/ 20097 h 29965"/>
                <a:gd name="connsiteX18" fmla="*/ 13212 w 13211"/>
                <a:gd name="connsiteY18" fmla="*/ 20570 h 29965"/>
                <a:gd name="connsiteX19" fmla="*/ 13212 w 13211"/>
                <a:gd name="connsiteY19" fmla="*/ 21754 h 29965"/>
                <a:gd name="connsiteX20" fmla="*/ 12975 w 13211"/>
                <a:gd name="connsiteY20" fmla="*/ 22512 h 29965"/>
                <a:gd name="connsiteX21" fmla="*/ 12407 w 13211"/>
                <a:gd name="connsiteY21" fmla="*/ 23080 h 29965"/>
                <a:gd name="connsiteX22" fmla="*/ 852 w 13211"/>
                <a:gd name="connsiteY22" fmla="*/ 29852 h 29965"/>
                <a:gd name="connsiteX23" fmla="*/ 284 w 13211"/>
                <a:gd name="connsiteY23" fmla="*/ 29899 h 29965"/>
                <a:gd name="connsiteX24" fmla="*/ 47 w 13211"/>
                <a:gd name="connsiteY24" fmla="*/ 29426 h 29965"/>
                <a:gd name="connsiteX25" fmla="*/ 0 w 13211"/>
                <a:gd name="connsiteY25" fmla="*/ 8022 h 29965"/>
                <a:gd name="connsiteX26" fmla="*/ 237 w 13211"/>
                <a:gd name="connsiteY26" fmla="*/ 7264 h 29965"/>
                <a:gd name="connsiteX27" fmla="*/ 805 w 13211"/>
                <a:gd name="connsiteY27" fmla="*/ 6696 h 29965"/>
                <a:gd name="connsiteX28" fmla="*/ 12170 w 13211"/>
                <a:gd name="connsiteY28" fmla="*/ 113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211" h="29965">
                  <a:moveTo>
                    <a:pt x="12170" y="113"/>
                  </a:moveTo>
                  <a:cubicBezTo>
                    <a:pt x="12359" y="-29"/>
                    <a:pt x="12549" y="-29"/>
                    <a:pt x="12738" y="66"/>
                  </a:cubicBezTo>
                  <a:cubicBezTo>
                    <a:pt x="12880" y="161"/>
                    <a:pt x="12975" y="303"/>
                    <a:pt x="12975" y="587"/>
                  </a:cubicBezTo>
                  <a:lnTo>
                    <a:pt x="12975" y="1771"/>
                  </a:lnTo>
                  <a:cubicBezTo>
                    <a:pt x="12975" y="2008"/>
                    <a:pt x="12880" y="2244"/>
                    <a:pt x="12738" y="2528"/>
                  </a:cubicBezTo>
                  <a:cubicBezTo>
                    <a:pt x="12596" y="2813"/>
                    <a:pt x="12407" y="3002"/>
                    <a:pt x="12170" y="3097"/>
                  </a:cubicBezTo>
                  <a:lnTo>
                    <a:pt x="2699" y="8542"/>
                  </a:lnTo>
                  <a:lnTo>
                    <a:pt x="2699" y="15551"/>
                  </a:lnTo>
                  <a:lnTo>
                    <a:pt x="11507" y="10484"/>
                  </a:lnTo>
                  <a:cubicBezTo>
                    <a:pt x="11696" y="10342"/>
                    <a:pt x="11886" y="10342"/>
                    <a:pt x="12075" y="10437"/>
                  </a:cubicBezTo>
                  <a:cubicBezTo>
                    <a:pt x="12217" y="10531"/>
                    <a:pt x="12312" y="10673"/>
                    <a:pt x="12312" y="10910"/>
                  </a:cubicBezTo>
                  <a:lnTo>
                    <a:pt x="12312" y="12094"/>
                  </a:lnTo>
                  <a:cubicBezTo>
                    <a:pt x="12312" y="12331"/>
                    <a:pt x="12217" y="12568"/>
                    <a:pt x="12075" y="12852"/>
                  </a:cubicBezTo>
                  <a:cubicBezTo>
                    <a:pt x="11933" y="13136"/>
                    <a:pt x="11744" y="13325"/>
                    <a:pt x="11507" y="13420"/>
                  </a:cubicBezTo>
                  <a:lnTo>
                    <a:pt x="2747" y="18487"/>
                  </a:lnTo>
                  <a:lnTo>
                    <a:pt x="2747" y="25732"/>
                  </a:lnTo>
                  <a:lnTo>
                    <a:pt x="12407" y="20144"/>
                  </a:lnTo>
                  <a:cubicBezTo>
                    <a:pt x="12596" y="20002"/>
                    <a:pt x="12786" y="20002"/>
                    <a:pt x="12975" y="20097"/>
                  </a:cubicBezTo>
                  <a:cubicBezTo>
                    <a:pt x="13117" y="20192"/>
                    <a:pt x="13212" y="20334"/>
                    <a:pt x="13212" y="20570"/>
                  </a:cubicBezTo>
                  <a:lnTo>
                    <a:pt x="13212" y="21754"/>
                  </a:lnTo>
                  <a:cubicBezTo>
                    <a:pt x="13212" y="21991"/>
                    <a:pt x="13117" y="22228"/>
                    <a:pt x="12975" y="22512"/>
                  </a:cubicBezTo>
                  <a:cubicBezTo>
                    <a:pt x="12833" y="22796"/>
                    <a:pt x="12644" y="22986"/>
                    <a:pt x="12407" y="23080"/>
                  </a:cubicBezTo>
                  <a:lnTo>
                    <a:pt x="852" y="29852"/>
                  </a:lnTo>
                  <a:cubicBezTo>
                    <a:pt x="663" y="29994"/>
                    <a:pt x="474" y="29994"/>
                    <a:pt x="284" y="29899"/>
                  </a:cubicBezTo>
                  <a:cubicBezTo>
                    <a:pt x="142" y="29805"/>
                    <a:pt x="47" y="29662"/>
                    <a:pt x="47" y="29426"/>
                  </a:cubicBezTo>
                  <a:lnTo>
                    <a:pt x="0" y="8022"/>
                  </a:lnTo>
                  <a:cubicBezTo>
                    <a:pt x="0" y="7785"/>
                    <a:pt x="95" y="7548"/>
                    <a:pt x="237" y="7264"/>
                  </a:cubicBezTo>
                  <a:cubicBezTo>
                    <a:pt x="379" y="6980"/>
                    <a:pt x="568" y="6790"/>
                    <a:pt x="805" y="6696"/>
                  </a:cubicBezTo>
                  <a:lnTo>
                    <a:pt x="12170" y="113"/>
                  </a:lnTo>
                  <a:close/>
                </a:path>
              </a:pathLst>
            </a:custGeom>
            <a:solidFill>
              <a:srgbClr val="C5C5C5"/>
            </a:solidFill>
            <a:ln w="438" cap="flat">
              <a:noFill/>
              <a:prstDash val="solid"/>
              <a:miter/>
            </a:ln>
          </p:spPr>
          <p:txBody>
            <a:bodyPr rtlCol="0" anchor="ctr"/>
            <a:lstStyle/>
            <a:p>
              <a:endParaRPr lang="en-US" sz="1013" b="0" i="0">
                <a:latin typeface="Nexa Book" pitchFamily="2" charset="77"/>
              </a:endParaRPr>
            </a:p>
          </p:txBody>
        </p:sp>
        <p:sp>
          <p:nvSpPr>
            <p:cNvPr id="79" name="P">
              <a:extLst>
                <a:ext uri="{FF2B5EF4-FFF2-40B4-BE49-F238E27FC236}">
                  <a16:creationId xmlns:a16="http://schemas.microsoft.com/office/drawing/2014/main" id="{3DAC5263-D908-CE72-ECCC-945A0CF62064}"/>
                </a:ext>
              </a:extLst>
            </p:cNvPr>
            <p:cNvSpPr>
              <a:spLocks/>
            </p:cNvSpPr>
            <p:nvPr/>
          </p:nvSpPr>
          <p:spPr>
            <a:xfrm>
              <a:off x="2337" y="4972051"/>
              <a:ext cx="77744" cy="177438"/>
            </a:xfrm>
            <a:custGeom>
              <a:avLst/>
              <a:gdLst>
                <a:gd name="connsiteX0" fmla="*/ 77744 w 77744"/>
                <a:gd name="connsiteY0" fmla="*/ 49261 h 177438"/>
                <a:gd name="connsiteX1" fmla="*/ 77673 w 77744"/>
                <a:gd name="connsiteY1" fmla="*/ 82042 h 177438"/>
                <a:gd name="connsiteX2" fmla="*/ 39920 w 77744"/>
                <a:gd name="connsiteY2" fmla="*/ 103707 h 177438"/>
                <a:gd name="connsiteX3" fmla="*/ 40062 w 77744"/>
                <a:gd name="connsiteY3" fmla="*/ 150197 h 177438"/>
                <a:gd name="connsiteX4" fmla="*/ 0 w 77744"/>
                <a:gd name="connsiteY4" fmla="*/ 177438 h 177438"/>
                <a:gd name="connsiteX5" fmla="*/ 107 w 77744"/>
                <a:gd name="connsiteY5" fmla="*/ 96427 h 177438"/>
                <a:gd name="connsiteX6" fmla="*/ 36 w 77744"/>
                <a:gd name="connsiteY6" fmla="*/ 0 h 177438"/>
                <a:gd name="connsiteX7" fmla="*/ 70676 w 77744"/>
                <a:gd name="connsiteY7" fmla="*/ 42122 h 177438"/>
                <a:gd name="connsiteX8" fmla="*/ 25075 w 77744"/>
                <a:gd name="connsiteY8" fmla="*/ 70357 h 177438"/>
                <a:gd name="connsiteX9" fmla="*/ 107 w 77744"/>
                <a:gd name="connsiteY9" fmla="*/ 56612 h 17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44" h="177438">
                  <a:moveTo>
                    <a:pt x="77744" y="49261"/>
                  </a:moveTo>
                  <a:lnTo>
                    <a:pt x="77673" y="82042"/>
                  </a:lnTo>
                  <a:lnTo>
                    <a:pt x="39920" y="103707"/>
                  </a:lnTo>
                  <a:lnTo>
                    <a:pt x="40062" y="150197"/>
                  </a:lnTo>
                  <a:lnTo>
                    <a:pt x="0" y="177438"/>
                  </a:lnTo>
                  <a:lnTo>
                    <a:pt x="107" y="96427"/>
                  </a:lnTo>
                  <a:close/>
                  <a:moveTo>
                    <a:pt x="36" y="0"/>
                  </a:moveTo>
                  <a:lnTo>
                    <a:pt x="70676" y="42122"/>
                  </a:lnTo>
                  <a:lnTo>
                    <a:pt x="25075" y="70357"/>
                  </a:lnTo>
                  <a:lnTo>
                    <a:pt x="107" y="56612"/>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8" name="PRICING">
              <a:extLst>
                <a:ext uri="{FF2B5EF4-FFF2-40B4-BE49-F238E27FC236}">
                  <a16:creationId xmlns:a16="http://schemas.microsoft.com/office/drawing/2014/main" id="{95DEEE0C-A933-92B1-7689-BDCE418EFD53}"/>
                </a:ext>
              </a:extLst>
            </p:cNvPr>
            <p:cNvSpPr>
              <a:spLocks/>
            </p:cNvSpPr>
            <p:nvPr/>
          </p:nvSpPr>
          <p:spPr>
            <a:xfrm>
              <a:off x="122735" y="5041485"/>
              <a:ext cx="246230" cy="47627"/>
            </a:xfrm>
            <a:custGeom>
              <a:avLst/>
              <a:gdLst>
                <a:gd name="connsiteX0" fmla="*/ 46916 w 246230"/>
                <a:gd name="connsiteY0" fmla="*/ 4014 h 47627"/>
                <a:gd name="connsiteX1" fmla="*/ 46916 w 246230"/>
                <a:gd name="connsiteY1" fmla="*/ 26105 h 47627"/>
                <a:gd name="connsiteX2" fmla="*/ 46952 w 246230"/>
                <a:gd name="connsiteY2" fmla="*/ 26105 h 47627"/>
                <a:gd name="connsiteX3" fmla="*/ 63360 w 246230"/>
                <a:gd name="connsiteY3" fmla="*/ 26105 h 47627"/>
                <a:gd name="connsiteX4" fmla="*/ 75080 w 246230"/>
                <a:gd name="connsiteY4" fmla="*/ 15060 h 47627"/>
                <a:gd name="connsiteX5" fmla="*/ 63751 w 246230"/>
                <a:gd name="connsiteY5" fmla="*/ 4014 h 47627"/>
                <a:gd name="connsiteX6" fmla="*/ 3587 w 246230"/>
                <a:gd name="connsiteY6" fmla="*/ 3978 h 47627"/>
                <a:gd name="connsiteX7" fmla="*/ 3587 w 246230"/>
                <a:gd name="connsiteY7" fmla="*/ 27738 h 47627"/>
                <a:gd name="connsiteX8" fmla="*/ 20350 w 246230"/>
                <a:gd name="connsiteY8" fmla="*/ 27738 h 47627"/>
                <a:gd name="connsiteX9" fmla="*/ 20350 w 246230"/>
                <a:gd name="connsiteY9" fmla="*/ 3978 h 47627"/>
                <a:gd name="connsiteX10" fmla="*/ 160602 w 246230"/>
                <a:gd name="connsiteY10" fmla="*/ 675 h 47627"/>
                <a:gd name="connsiteX11" fmla="*/ 162129 w 246230"/>
                <a:gd name="connsiteY11" fmla="*/ 675 h 47627"/>
                <a:gd name="connsiteX12" fmla="*/ 193312 w 246230"/>
                <a:gd name="connsiteY12" fmla="*/ 39033 h 47627"/>
                <a:gd name="connsiteX13" fmla="*/ 193312 w 246230"/>
                <a:gd name="connsiteY13" fmla="*/ 675 h 47627"/>
                <a:gd name="connsiteX14" fmla="*/ 196828 w 246230"/>
                <a:gd name="connsiteY14" fmla="*/ 675 h 47627"/>
                <a:gd name="connsiteX15" fmla="*/ 196828 w 246230"/>
                <a:gd name="connsiteY15" fmla="*/ 47023 h 47627"/>
                <a:gd name="connsiteX16" fmla="*/ 195443 w 246230"/>
                <a:gd name="connsiteY16" fmla="*/ 47023 h 47627"/>
                <a:gd name="connsiteX17" fmla="*/ 164189 w 246230"/>
                <a:gd name="connsiteY17" fmla="*/ 8737 h 47627"/>
                <a:gd name="connsiteX18" fmla="*/ 164189 w 246230"/>
                <a:gd name="connsiteY18" fmla="*/ 47023 h 47627"/>
                <a:gd name="connsiteX19" fmla="*/ 160602 w 246230"/>
                <a:gd name="connsiteY19" fmla="*/ 47023 h 47627"/>
                <a:gd name="connsiteX20" fmla="*/ 146821 w 246230"/>
                <a:gd name="connsiteY20" fmla="*/ 675 h 47627"/>
                <a:gd name="connsiteX21" fmla="*/ 150337 w 246230"/>
                <a:gd name="connsiteY21" fmla="*/ 675 h 47627"/>
                <a:gd name="connsiteX22" fmla="*/ 150337 w 246230"/>
                <a:gd name="connsiteY22" fmla="*/ 47023 h 47627"/>
                <a:gd name="connsiteX23" fmla="*/ 146821 w 246230"/>
                <a:gd name="connsiteY23" fmla="*/ 47023 h 47627"/>
                <a:gd name="connsiteX24" fmla="*/ 86374 w 246230"/>
                <a:gd name="connsiteY24" fmla="*/ 675 h 47627"/>
                <a:gd name="connsiteX25" fmla="*/ 89890 w 246230"/>
                <a:gd name="connsiteY25" fmla="*/ 675 h 47627"/>
                <a:gd name="connsiteX26" fmla="*/ 89890 w 246230"/>
                <a:gd name="connsiteY26" fmla="*/ 47023 h 47627"/>
                <a:gd name="connsiteX27" fmla="*/ 86374 w 246230"/>
                <a:gd name="connsiteY27" fmla="*/ 47023 h 47627"/>
                <a:gd name="connsiteX28" fmla="*/ 43365 w 246230"/>
                <a:gd name="connsiteY28" fmla="*/ 675 h 47627"/>
                <a:gd name="connsiteX29" fmla="*/ 63751 w 246230"/>
                <a:gd name="connsiteY29" fmla="*/ 675 h 47627"/>
                <a:gd name="connsiteX30" fmla="*/ 78987 w 246230"/>
                <a:gd name="connsiteY30" fmla="*/ 15130 h 47627"/>
                <a:gd name="connsiteX31" fmla="*/ 63964 w 246230"/>
                <a:gd name="connsiteY31" fmla="*/ 29301 h 47627"/>
                <a:gd name="connsiteX32" fmla="*/ 80337 w 246230"/>
                <a:gd name="connsiteY32" fmla="*/ 47023 h 47627"/>
                <a:gd name="connsiteX33" fmla="*/ 75649 w 246230"/>
                <a:gd name="connsiteY33" fmla="*/ 47023 h 47627"/>
                <a:gd name="connsiteX34" fmla="*/ 59596 w 246230"/>
                <a:gd name="connsiteY34" fmla="*/ 29478 h 47627"/>
                <a:gd name="connsiteX35" fmla="*/ 46952 w 246230"/>
                <a:gd name="connsiteY35" fmla="*/ 29478 h 47627"/>
                <a:gd name="connsiteX36" fmla="*/ 46952 w 246230"/>
                <a:gd name="connsiteY36" fmla="*/ 47023 h 47627"/>
                <a:gd name="connsiteX37" fmla="*/ 43365 w 246230"/>
                <a:gd name="connsiteY37" fmla="*/ 47023 h 47627"/>
                <a:gd name="connsiteX38" fmla="*/ 0 w 246230"/>
                <a:gd name="connsiteY38" fmla="*/ 675 h 47627"/>
                <a:gd name="connsiteX39" fmla="*/ 20315 w 246230"/>
                <a:gd name="connsiteY39" fmla="*/ 675 h 47627"/>
                <a:gd name="connsiteX40" fmla="*/ 20315 w 246230"/>
                <a:gd name="connsiteY40" fmla="*/ 31006 h 47627"/>
                <a:gd name="connsiteX41" fmla="*/ 3587 w 246230"/>
                <a:gd name="connsiteY41" fmla="*/ 31006 h 47627"/>
                <a:gd name="connsiteX42" fmla="*/ 3587 w 246230"/>
                <a:gd name="connsiteY42" fmla="*/ 47023 h 47627"/>
                <a:gd name="connsiteX43" fmla="*/ 0 w 246230"/>
                <a:gd name="connsiteY43" fmla="*/ 47023 h 47627"/>
                <a:gd name="connsiteX44" fmla="*/ 121428 w 246230"/>
                <a:gd name="connsiteY44" fmla="*/ 142 h 47627"/>
                <a:gd name="connsiteX45" fmla="*/ 138334 w 246230"/>
                <a:gd name="connsiteY45" fmla="*/ 7103 h 47627"/>
                <a:gd name="connsiteX46" fmla="*/ 135883 w 246230"/>
                <a:gd name="connsiteY46" fmla="*/ 9235 h 47627"/>
                <a:gd name="connsiteX47" fmla="*/ 121428 w 246230"/>
                <a:gd name="connsiteY47" fmla="*/ 3339 h 47627"/>
                <a:gd name="connsiteX48" fmla="*/ 101042 w 246230"/>
                <a:gd name="connsiteY48" fmla="*/ 24009 h 47627"/>
                <a:gd name="connsiteX49" fmla="*/ 121428 w 246230"/>
                <a:gd name="connsiteY49" fmla="*/ 44288 h 47627"/>
                <a:gd name="connsiteX50" fmla="*/ 135919 w 246230"/>
                <a:gd name="connsiteY50" fmla="*/ 38393 h 47627"/>
                <a:gd name="connsiteX51" fmla="*/ 138334 w 246230"/>
                <a:gd name="connsiteY51" fmla="*/ 40595 h 47627"/>
                <a:gd name="connsiteX52" fmla="*/ 121428 w 246230"/>
                <a:gd name="connsiteY52" fmla="*/ 47556 h 47627"/>
                <a:gd name="connsiteX53" fmla="*/ 97596 w 246230"/>
                <a:gd name="connsiteY53" fmla="*/ 24116 h 47627"/>
                <a:gd name="connsiteX54" fmla="*/ 121428 w 246230"/>
                <a:gd name="connsiteY54" fmla="*/ 142 h 47627"/>
                <a:gd name="connsiteX55" fmla="*/ 228757 w 246230"/>
                <a:gd name="connsiteY55" fmla="*/ 0 h 47627"/>
                <a:gd name="connsiteX56" fmla="*/ 245698 w 246230"/>
                <a:gd name="connsiteY56" fmla="*/ 6961 h 47627"/>
                <a:gd name="connsiteX57" fmla="*/ 243637 w 246230"/>
                <a:gd name="connsiteY57" fmla="*/ 9199 h 47627"/>
                <a:gd name="connsiteX58" fmla="*/ 228721 w 246230"/>
                <a:gd name="connsiteY58" fmla="*/ 3232 h 47627"/>
                <a:gd name="connsiteX59" fmla="*/ 208264 w 246230"/>
                <a:gd name="connsiteY59" fmla="*/ 23902 h 47627"/>
                <a:gd name="connsiteX60" fmla="*/ 228721 w 246230"/>
                <a:gd name="connsiteY60" fmla="*/ 44218 h 47627"/>
                <a:gd name="connsiteX61" fmla="*/ 242821 w 246230"/>
                <a:gd name="connsiteY61" fmla="*/ 38855 h 47627"/>
                <a:gd name="connsiteX62" fmla="*/ 242821 w 246230"/>
                <a:gd name="connsiteY62" fmla="*/ 25856 h 47627"/>
                <a:gd name="connsiteX63" fmla="*/ 226696 w 246230"/>
                <a:gd name="connsiteY63" fmla="*/ 25856 h 47627"/>
                <a:gd name="connsiteX64" fmla="*/ 226696 w 246230"/>
                <a:gd name="connsiteY64" fmla="*/ 22731 h 47627"/>
                <a:gd name="connsiteX65" fmla="*/ 246230 w 246230"/>
                <a:gd name="connsiteY65" fmla="*/ 22731 h 47627"/>
                <a:gd name="connsiteX66" fmla="*/ 246230 w 246230"/>
                <a:gd name="connsiteY66" fmla="*/ 40133 h 47627"/>
                <a:gd name="connsiteX67" fmla="*/ 228757 w 246230"/>
                <a:gd name="connsiteY67" fmla="*/ 47627 h 47627"/>
                <a:gd name="connsiteX68" fmla="*/ 204855 w 246230"/>
                <a:gd name="connsiteY68" fmla="*/ 23974 h 47627"/>
                <a:gd name="connsiteX69" fmla="*/ 228757 w 246230"/>
                <a:gd name="connsiteY69" fmla="*/ 0 h 4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46230" h="47627">
                  <a:moveTo>
                    <a:pt x="46916" y="4014"/>
                  </a:moveTo>
                  <a:lnTo>
                    <a:pt x="46916" y="26105"/>
                  </a:lnTo>
                  <a:lnTo>
                    <a:pt x="46952" y="26105"/>
                  </a:lnTo>
                  <a:lnTo>
                    <a:pt x="63360" y="26105"/>
                  </a:lnTo>
                  <a:cubicBezTo>
                    <a:pt x="71458" y="26105"/>
                    <a:pt x="75010" y="21523"/>
                    <a:pt x="75080" y="15060"/>
                  </a:cubicBezTo>
                  <a:cubicBezTo>
                    <a:pt x="75151" y="9625"/>
                    <a:pt x="71422" y="4014"/>
                    <a:pt x="63751" y="4014"/>
                  </a:cubicBezTo>
                  <a:close/>
                  <a:moveTo>
                    <a:pt x="3587" y="3978"/>
                  </a:moveTo>
                  <a:lnTo>
                    <a:pt x="3587" y="27738"/>
                  </a:lnTo>
                  <a:lnTo>
                    <a:pt x="20350" y="27738"/>
                  </a:lnTo>
                  <a:cubicBezTo>
                    <a:pt x="35799" y="27738"/>
                    <a:pt x="35799" y="3978"/>
                    <a:pt x="20350" y="3978"/>
                  </a:cubicBezTo>
                  <a:close/>
                  <a:moveTo>
                    <a:pt x="160602" y="675"/>
                  </a:moveTo>
                  <a:lnTo>
                    <a:pt x="162129" y="675"/>
                  </a:lnTo>
                  <a:lnTo>
                    <a:pt x="193312" y="39033"/>
                  </a:lnTo>
                  <a:lnTo>
                    <a:pt x="193312" y="675"/>
                  </a:lnTo>
                  <a:lnTo>
                    <a:pt x="196828" y="675"/>
                  </a:lnTo>
                  <a:lnTo>
                    <a:pt x="196828" y="47023"/>
                  </a:lnTo>
                  <a:lnTo>
                    <a:pt x="195443" y="47023"/>
                  </a:lnTo>
                  <a:lnTo>
                    <a:pt x="164189" y="8737"/>
                  </a:lnTo>
                  <a:lnTo>
                    <a:pt x="164189" y="47023"/>
                  </a:lnTo>
                  <a:lnTo>
                    <a:pt x="160602" y="47023"/>
                  </a:lnTo>
                  <a:close/>
                  <a:moveTo>
                    <a:pt x="146821" y="675"/>
                  </a:moveTo>
                  <a:lnTo>
                    <a:pt x="150337" y="675"/>
                  </a:lnTo>
                  <a:lnTo>
                    <a:pt x="150337" y="47023"/>
                  </a:lnTo>
                  <a:lnTo>
                    <a:pt x="146821" y="47023"/>
                  </a:lnTo>
                  <a:close/>
                  <a:moveTo>
                    <a:pt x="86374" y="675"/>
                  </a:moveTo>
                  <a:lnTo>
                    <a:pt x="89890" y="675"/>
                  </a:lnTo>
                  <a:lnTo>
                    <a:pt x="89890" y="47023"/>
                  </a:lnTo>
                  <a:lnTo>
                    <a:pt x="86374" y="47023"/>
                  </a:lnTo>
                  <a:close/>
                  <a:moveTo>
                    <a:pt x="43365" y="675"/>
                  </a:moveTo>
                  <a:cubicBezTo>
                    <a:pt x="50184" y="675"/>
                    <a:pt x="56932" y="675"/>
                    <a:pt x="63751" y="675"/>
                  </a:cubicBezTo>
                  <a:cubicBezTo>
                    <a:pt x="73801" y="675"/>
                    <a:pt x="78915" y="7885"/>
                    <a:pt x="78987" y="15130"/>
                  </a:cubicBezTo>
                  <a:cubicBezTo>
                    <a:pt x="79058" y="22695"/>
                    <a:pt x="74086" y="29301"/>
                    <a:pt x="63964" y="29301"/>
                  </a:cubicBezTo>
                  <a:lnTo>
                    <a:pt x="80337" y="47023"/>
                  </a:lnTo>
                  <a:lnTo>
                    <a:pt x="75649" y="47023"/>
                  </a:lnTo>
                  <a:lnTo>
                    <a:pt x="59596" y="29478"/>
                  </a:lnTo>
                  <a:lnTo>
                    <a:pt x="46952" y="29478"/>
                  </a:lnTo>
                  <a:lnTo>
                    <a:pt x="46952" y="47023"/>
                  </a:lnTo>
                  <a:lnTo>
                    <a:pt x="43365" y="47023"/>
                  </a:lnTo>
                  <a:close/>
                  <a:moveTo>
                    <a:pt x="0" y="675"/>
                  </a:moveTo>
                  <a:cubicBezTo>
                    <a:pt x="6748" y="675"/>
                    <a:pt x="13567" y="675"/>
                    <a:pt x="20315" y="675"/>
                  </a:cubicBezTo>
                  <a:cubicBezTo>
                    <a:pt x="40452" y="675"/>
                    <a:pt x="40452" y="31006"/>
                    <a:pt x="20315" y="31006"/>
                  </a:cubicBezTo>
                  <a:lnTo>
                    <a:pt x="3587" y="31006"/>
                  </a:lnTo>
                  <a:lnTo>
                    <a:pt x="3587" y="47023"/>
                  </a:lnTo>
                  <a:lnTo>
                    <a:pt x="0" y="47023"/>
                  </a:lnTo>
                  <a:close/>
                  <a:moveTo>
                    <a:pt x="121428" y="142"/>
                  </a:moveTo>
                  <a:cubicBezTo>
                    <a:pt x="127537" y="142"/>
                    <a:pt x="133681" y="2451"/>
                    <a:pt x="138334" y="7103"/>
                  </a:cubicBezTo>
                  <a:lnTo>
                    <a:pt x="135883" y="9235"/>
                  </a:lnTo>
                  <a:cubicBezTo>
                    <a:pt x="131905" y="5257"/>
                    <a:pt x="126684" y="3339"/>
                    <a:pt x="121428" y="3339"/>
                  </a:cubicBezTo>
                  <a:cubicBezTo>
                    <a:pt x="107932" y="3339"/>
                    <a:pt x="100971" y="12892"/>
                    <a:pt x="101042" y="24009"/>
                  </a:cubicBezTo>
                  <a:cubicBezTo>
                    <a:pt x="101184" y="34877"/>
                    <a:pt x="108074" y="44288"/>
                    <a:pt x="121428" y="44288"/>
                  </a:cubicBezTo>
                  <a:cubicBezTo>
                    <a:pt x="126649" y="44288"/>
                    <a:pt x="131976" y="42300"/>
                    <a:pt x="135919" y="38393"/>
                  </a:cubicBezTo>
                  <a:lnTo>
                    <a:pt x="138334" y="40595"/>
                  </a:lnTo>
                  <a:cubicBezTo>
                    <a:pt x="133681" y="45248"/>
                    <a:pt x="127537" y="47556"/>
                    <a:pt x="121428" y="47556"/>
                  </a:cubicBezTo>
                  <a:cubicBezTo>
                    <a:pt x="105801" y="47556"/>
                    <a:pt x="97668" y="36617"/>
                    <a:pt x="97596" y="24116"/>
                  </a:cubicBezTo>
                  <a:cubicBezTo>
                    <a:pt x="97455" y="11721"/>
                    <a:pt x="105553" y="142"/>
                    <a:pt x="121428" y="142"/>
                  </a:cubicBezTo>
                  <a:close/>
                  <a:moveTo>
                    <a:pt x="228757" y="0"/>
                  </a:moveTo>
                  <a:cubicBezTo>
                    <a:pt x="234865" y="0"/>
                    <a:pt x="241009" y="2309"/>
                    <a:pt x="245698" y="6961"/>
                  </a:cubicBezTo>
                  <a:lnTo>
                    <a:pt x="243637" y="9199"/>
                  </a:lnTo>
                  <a:cubicBezTo>
                    <a:pt x="239589" y="5221"/>
                    <a:pt x="233977" y="3232"/>
                    <a:pt x="228721" y="3232"/>
                  </a:cubicBezTo>
                  <a:cubicBezTo>
                    <a:pt x="215154" y="3232"/>
                    <a:pt x="208193" y="13176"/>
                    <a:pt x="208264" y="23902"/>
                  </a:cubicBezTo>
                  <a:cubicBezTo>
                    <a:pt x="208264" y="34842"/>
                    <a:pt x="215225" y="44218"/>
                    <a:pt x="228721" y="44218"/>
                  </a:cubicBezTo>
                  <a:cubicBezTo>
                    <a:pt x="233693" y="44218"/>
                    <a:pt x="238843" y="42513"/>
                    <a:pt x="242821" y="38855"/>
                  </a:cubicBezTo>
                  <a:lnTo>
                    <a:pt x="242821" y="25856"/>
                  </a:lnTo>
                  <a:lnTo>
                    <a:pt x="226696" y="25856"/>
                  </a:lnTo>
                  <a:lnTo>
                    <a:pt x="226696" y="22731"/>
                  </a:lnTo>
                  <a:lnTo>
                    <a:pt x="246230" y="22731"/>
                  </a:lnTo>
                  <a:lnTo>
                    <a:pt x="246230" y="40133"/>
                  </a:lnTo>
                  <a:cubicBezTo>
                    <a:pt x="241400" y="44964"/>
                    <a:pt x="235646" y="47627"/>
                    <a:pt x="228757" y="47627"/>
                  </a:cubicBezTo>
                  <a:cubicBezTo>
                    <a:pt x="212988" y="47627"/>
                    <a:pt x="204855" y="36617"/>
                    <a:pt x="204855" y="23974"/>
                  </a:cubicBezTo>
                  <a:cubicBezTo>
                    <a:pt x="204783" y="9483"/>
                    <a:pt x="214657" y="0"/>
                    <a:pt x="228757" y="0"/>
                  </a:cubicBez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7" name="One">
              <a:extLst>
                <a:ext uri="{FF2B5EF4-FFF2-40B4-BE49-F238E27FC236}">
                  <a16:creationId xmlns:a16="http://schemas.microsoft.com/office/drawing/2014/main" id="{76C7B306-B971-32B9-4301-F0F887CADC00}"/>
                </a:ext>
              </a:extLst>
            </p:cNvPr>
            <p:cNvSpPr>
              <a:spLocks/>
            </p:cNvSpPr>
            <p:nvPr/>
          </p:nvSpPr>
          <p:spPr>
            <a:xfrm>
              <a:off x="380295" y="5040526"/>
              <a:ext cx="135847" cy="48337"/>
            </a:xfrm>
            <a:custGeom>
              <a:avLst/>
              <a:gdLst>
                <a:gd name="connsiteX0" fmla="*/ 23831 w 135847"/>
                <a:gd name="connsiteY0" fmla="*/ 7956 h 48337"/>
                <a:gd name="connsiteX1" fmla="*/ 8595 w 135847"/>
                <a:gd name="connsiteY1" fmla="*/ 24577 h 48337"/>
                <a:gd name="connsiteX2" fmla="*/ 23831 w 135847"/>
                <a:gd name="connsiteY2" fmla="*/ 40347 h 48337"/>
                <a:gd name="connsiteX3" fmla="*/ 38996 w 135847"/>
                <a:gd name="connsiteY3" fmla="*/ 24507 h 48337"/>
                <a:gd name="connsiteX4" fmla="*/ 23831 w 135847"/>
                <a:gd name="connsiteY4" fmla="*/ 7956 h 48337"/>
                <a:gd name="connsiteX5" fmla="*/ 101148 w 135847"/>
                <a:gd name="connsiteY5" fmla="*/ 923 h 48337"/>
                <a:gd name="connsiteX6" fmla="*/ 135847 w 135847"/>
                <a:gd name="connsiteY6" fmla="*/ 923 h 48337"/>
                <a:gd name="connsiteX7" fmla="*/ 135847 w 135847"/>
                <a:gd name="connsiteY7" fmla="*/ 9412 h 48337"/>
                <a:gd name="connsiteX8" fmla="*/ 109814 w 135847"/>
                <a:gd name="connsiteY8" fmla="*/ 9412 h 48337"/>
                <a:gd name="connsiteX9" fmla="*/ 109814 w 135847"/>
                <a:gd name="connsiteY9" fmla="*/ 20066 h 48337"/>
                <a:gd name="connsiteX10" fmla="*/ 134924 w 135847"/>
                <a:gd name="connsiteY10" fmla="*/ 20066 h 48337"/>
                <a:gd name="connsiteX11" fmla="*/ 134924 w 135847"/>
                <a:gd name="connsiteY11" fmla="*/ 28199 h 48337"/>
                <a:gd name="connsiteX12" fmla="*/ 109814 w 135847"/>
                <a:gd name="connsiteY12" fmla="*/ 28199 h 48337"/>
                <a:gd name="connsiteX13" fmla="*/ 109814 w 135847"/>
                <a:gd name="connsiteY13" fmla="*/ 38677 h 48337"/>
                <a:gd name="connsiteX14" fmla="*/ 135847 w 135847"/>
                <a:gd name="connsiteY14" fmla="*/ 38677 h 48337"/>
                <a:gd name="connsiteX15" fmla="*/ 135847 w 135847"/>
                <a:gd name="connsiteY15" fmla="*/ 47307 h 48337"/>
                <a:gd name="connsiteX16" fmla="*/ 101148 w 135847"/>
                <a:gd name="connsiteY16" fmla="*/ 47307 h 48337"/>
                <a:gd name="connsiteX17" fmla="*/ 101148 w 135847"/>
                <a:gd name="connsiteY17" fmla="*/ 923 h 48337"/>
                <a:gd name="connsiteX18" fmla="*/ 84526 w 135847"/>
                <a:gd name="connsiteY18" fmla="*/ 852 h 48337"/>
                <a:gd name="connsiteX19" fmla="*/ 93227 w 135847"/>
                <a:gd name="connsiteY19" fmla="*/ 852 h 48337"/>
                <a:gd name="connsiteX20" fmla="*/ 93227 w 135847"/>
                <a:gd name="connsiteY20" fmla="*/ 47272 h 48337"/>
                <a:gd name="connsiteX21" fmla="*/ 87793 w 135847"/>
                <a:gd name="connsiteY21" fmla="*/ 47272 h 48337"/>
                <a:gd name="connsiteX22" fmla="*/ 87793 w 135847"/>
                <a:gd name="connsiteY22" fmla="*/ 47343 h 48337"/>
                <a:gd name="connsiteX23" fmla="*/ 63430 w 135847"/>
                <a:gd name="connsiteY23" fmla="*/ 16017 h 48337"/>
                <a:gd name="connsiteX24" fmla="*/ 63430 w 135847"/>
                <a:gd name="connsiteY24" fmla="*/ 47272 h 48337"/>
                <a:gd name="connsiteX25" fmla="*/ 54693 w 135847"/>
                <a:gd name="connsiteY25" fmla="*/ 47272 h 48337"/>
                <a:gd name="connsiteX26" fmla="*/ 54693 w 135847"/>
                <a:gd name="connsiteY26" fmla="*/ 924 h 48337"/>
                <a:gd name="connsiteX27" fmla="*/ 61796 w 135847"/>
                <a:gd name="connsiteY27" fmla="*/ 924 h 48337"/>
                <a:gd name="connsiteX28" fmla="*/ 84526 w 135847"/>
                <a:gd name="connsiteY28" fmla="*/ 29656 h 48337"/>
                <a:gd name="connsiteX29" fmla="*/ 23831 w 135847"/>
                <a:gd name="connsiteY29" fmla="*/ 0 h 48337"/>
                <a:gd name="connsiteX30" fmla="*/ 47626 w 135847"/>
                <a:gd name="connsiteY30" fmla="*/ 24364 h 48337"/>
                <a:gd name="connsiteX31" fmla="*/ 23831 w 135847"/>
                <a:gd name="connsiteY31" fmla="*/ 48337 h 48337"/>
                <a:gd name="connsiteX32" fmla="*/ 0 w 135847"/>
                <a:gd name="connsiteY32" fmla="*/ 24435 h 48337"/>
                <a:gd name="connsiteX33" fmla="*/ 23831 w 135847"/>
                <a:gd name="connsiteY33" fmla="*/ 0 h 4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5847" h="48337">
                  <a:moveTo>
                    <a:pt x="23831" y="7956"/>
                  </a:moveTo>
                  <a:cubicBezTo>
                    <a:pt x="12892" y="7956"/>
                    <a:pt x="8417" y="16764"/>
                    <a:pt x="8595" y="24577"/>
                  </a:cubicBezTo>
                  <a:cubicBezTo>
                    <a:pt x="8808" y="32178"/>
                    <a:pt x="12892" y="40347"/>
                    <a:pt x="23831" y="40347"/>
                  </a:cubicBezTo>
                  <a:cubicBezTo>
                    <a:pt x="34770" y="40347"/>
                    <a:pt x="38854" y="32142"/>
                    <a:pt x="38996" y="24507"/>
                  </a:cubicBezTo>
                  <a:cubicBezTo>
                    <a:pt x="39138" y="16693"/>
                    <a:pt x="34770" y="7956"/>
                    <a:pt x="23831" y="7956"/>
                  </a:cubicBezTo>
                  <a:close/>
                  <a:moveTo>
                    <a:pt x="101148" y="923"/>
                  </a:moveTo>
                  <a:lnTo>
                    <a:pt x="135847" y="923"/>
                  </a:lnTo>
                  <a:lnTo>
                    <a:pt x="135847" y="9412"/>
                  </a:lnTo>
                  <a:lnTo>
                    <a:pt x="109814" y="9412"/>
                  </a:lnTo>
                  <a:lnTo>
                    <a:pt x="109814" y="20066"/>
                  </a:lnTo>
                  <a:lnTo>
                    <a:pt x="134924" y="20066"/>
                  </a:lnTo>
                  <a:lnTo>
                    <a:pt x="134924" y="28199"/>
                  </a:lnTo>
                  <a:lnTo>
                    <a:pt x="109814" y="28199"/>
                  </a:lnTo>
                  <a:lnTo>
                    <a:pt x="109814" y="38677"/>
                  </a:lnTo>
                  <a:lnTo>
                    <a:pt x="135847" y="38677"/>
                  </a:lnTo>
                  <a:lnTo>
                    <a:pt x="135847" y="47307"/>
                  </a:lnTo>
                  <a:lnTo>
                    <a:pt x="101148" y="47307"/>
                  </a:lnTo>
                  <a:cubicBezTo>
                    <a:pt x="101148" y="31858"/>
                    <a:pt x="101148" y="16372"/>
                    <a:pt x="101148" y="923"/>
                  </a:cubicBezTo>
                  <a:close/>
                  <a:moveTo>
                    <a:pt x="84526" y="852"/>
                  </a:moveTo>
                  <a:lnTo>
                    <a:pt x="93227" y="852"/>
                  </a:lnTo>
                  <a:lnTo>
                    <a:pt x="93227" y="47272"/>
                  </a:lnTo>
                  <a:lnTo>
                    <a:pt x="87793" y="47272"/>
                  </a:lnTo>
                  <a:lnTo>
                    <a:pt x="87793" y="47343"/>
                  </a:lnTo>
                  <a:lnTo>
                    <a:pt x="63430" y="16017"/>
                  </a:lnTo>
                  <a:lnTo>
                    <a:pt x="63430" y="47272"/>
                  </a:lnTo>
                  <a:lnTo>
                    <a:pt x="54693" y="47272"/>
                  </a:lnTo>
                  <a:lnTo>
                    <a:pt x="54693" y="924"/>
                  </a:lnTo>
                  <a:lnTo>
                    <a:pt x="61796" y="924"/>
                  </a:lnTo>
                  <a:lnTo>
                    <a:pt x="84526" y="29656"/>
                  </a:lnTo>
                  <a:close/>
                  <a:moveTo>
                    <a:pt x="23831" y="0"/>
                  </a:moveTo>
                  <a:cubicBezTo>
                    <a:pt x="39813" y="0"/>
                    <a:pt x="47768" y="12253"/>
                    <a:pt x="47626" y="24364"/>
                  </a:cubicBezTo>
                  <a:cubicBezTo>
                    <a:pt x="47484" y="36369"/>
                    <a:pt x="40132" y="48337"/>
                    <a:pt x="23831" y="48337"/>
                  </a:cubicBezTo>
                  <a:cubicBezTo>
                    <a:pt x="7529" y="48337"/>
                    <a:pt x="0" y="36617"/>
                    <a:pt x="0" y="24435"/>
                  </a:cubicBezTo>
                  <a:cubicBezTo>
                    <a:pt x="0" y="12253"/>
                    <a:pt x="7813" y="0"/>
                    <a:pt x="23831" y="0"/>
                  </a:cubicBezTo>
                  <a:close/>
                </a:path>
              </a:pathLst>
            </a:custGeom>
            <a:solidFill>
              <a:srgbClr val="00A099"/>
            </a:solidFill>
            <a:ln w="438" cap="flat">
              <a:noFill/>
              <a:prstDash val="solid"/>
              <a:miter/>
            </a:ln>
          </p:spPr>
          <p:txBody>
            <a:bodyPr wrap="square" rtlCol="0" anchor="ctr">
              <a:noAutofit/>
            </a:bodyPr>
            <a:lstStyle/>
            <a:p>
              <a:endParaRPr lang="en-US" sz="1013" b="0" i="0">
                <a:latin typeface="Nexa Book" pitchFamily="2" charset="77"/>
              </a:endParaRPr>
            </a:p>
          </p:txBody>
        </p:sp>
        <p:sp>
          <p:nvSpPr>
            <p:cNvPr id="75" name="TM">
              <a:extLst>
                <a:ext uri="{FF2B5EF4-FFF2-40B4-BE49-F238E27FC236}">
                  <a16:creationId xmlns:a16="http://schemas.microsoft.com/office/drawing/2014/main" id="{EAE3B7E6-F36A-A0DB-94BA-E8CFEE1AF9E6}"/>
                </a:ext>
              </a:extLst>
            </p:cNvPr>
            <p:cNvSpPr>
              <a:spLocks/>
            </p:cNvSpPr>
            <p:nvPr/>
          </p:nvSpPr>
          <p:spPr>
            <a:xfrm>
              <a:off x="517206" y="5033991"/>
              <a:ext cx="29762" cy="15343"/>
            </a:xfrm>
            <a:custGeom>
              <a:avLst/>
              <a:gdLst>
                <a:gd name="connsiteX0" fmla="*/ 13922 w 29762"/>
                <a:gd name="connsiteY0" fmla="*/ 0 h 15343"/>
                <a:gd name="connsiteX1" fmla="*/ 17473 w 29762"/>
                <a:gd name="connsiteY1" fmla="*/ 0 h 15343"/>
                <a:gd name="connsiteX2" fmla="*/ 21735 w 29762"/>
                <a:gd name="connsiteY2" fmla="*/ 12218 h 15343"/>
                <a:gd name="connsiteX3" fmla="*/ 21807 w 29762"/>
                <a:gd name="connsiteY3" fmla="*/ 12218 h 15343"/>
                <a:gd name="connsiteX4" fmla="*/ 26211 w 29762"/>
                <a:gd name="connsiteY4" fmla="*/ 0 h 15343"/>
                <a:gd name="connsiteX5" fmla="*/ 29762 w 29762"/>
                <a:gd name="connsiteY5" fmla="*/ 0 h 15343"/>
                <a:gd name="connsiteX6" fmla="*/ 29762 w 29762"/>
                <a:gd name="connsiteY6" fmla="*/ 15343 h 15343"/>
                <a:gd name="connsiteX7" fmla="*/ 27347 w 29762"/>
                <a:gd name="connsiteY7" fmla="*/ 15343 h 15343"/>
                <a:gd name="connsiteX8" fmla="*/ 27347 w 29762"/>
                <a:gd name="connsiteY8" fmla="*/ 7743 h 15343"/>
                <a:gd name="connsiteX9" fmla="*/ 27418 w 29762"/>
                <a:gd name="connsiteY9" fmla="*/ 4759 h 15343"/>
                <a:gd name="connsiteX10" fmla="*/ 27525 w 29762"/>
                <a:gd name="connsiteY10" fmla="*/ 2522 h 15343"/>
                <a:gd name="connsiteX11" fmla="*/ 27453 w 29762"/>
                <a:gd name="connsiteY11" fmla="*/ 2522 h 15343"/>
                <a:gd name="connsiteX12" fmla="*/ 22836 w 29762"/>
                <a:gd name="connsiteY12" fmla="*/ 15308 h 15343"/>
                <a:gd name="connsiteX13" fmla="*/ 20528 w 29762"/>
                <a:gd name="connsiteY13" fmla="*/ 15308 h 15343"/>
                <a:gd name="connsiteX14" fmla="*/ 20528 w 29762"/>
                <a:gd name="connsiteY14" fmla="*/ 15343 h 15343"/>
                <a:gd name="connsiteX15" fmla="*/ 16089 w 29762"/>
                <a:gd name="connsiteY15" fmla="*/ 2522 h 15343"/>
                <a:gd name="connsiteX16" fmla="*/ 16017 w 29762"/>
                <a:gd name="connsiteY16" fmla="*/ 2522 h 15343"/>
                <a:gd name="connsiteX17" fmla="*/ 16195 w 29762"/>
                <a:gd name="connsiteY17" fmla="*/ 7885 h 15343"/>
                <a:gd name="connsiteX18" fmla="*/ 16195 w 29762"/>
                <a:gd name="connsiteY18" fmla="*/ 15343 h 15343"/>
                <a:gd name="connsiteX19" fmla="*/ 13922 w 29762"/>
                <a:gd name="connsiteY19" fmla="*/ 15343 h 15343"/>
                <a:gd name="connsiteX20" fmla="*/ 0 w 29762"/>
                <a:gd name="connsiteY20" fmla="*/ 0 h 15343"/>
                <a:gd name="connsiteX21" fmla="*/ 11543 w 29762"/>
                <a:gd name="connsiteY21" fmla="*/ 0 h 15343"/>
                <a:gd name="connsiteX22" fmla="*/ 11543 w 29762"/>
                <a:gd name="connsiteY22" fmla="*/ 2167 h 15343"/>
                <a:gd name="connsiteX23" fmla="*/ 7032 w 29762"/>
                <a:gd name="connsiteY23" fmla="*/ 2167 h 15343"/>
                <a:gd name="connsiteX24" fmla="*/ 7032 w 29762"/>
                <a:gd name="connsiteY24" fmla="*/ 15343 h 15343"/>
                <a:gd name="connsiteX25" fmla="*/ 4511 w 29762"/>
                <a:gd name="connsiteY25" fmla="*/ 15343 h 15343"/>
                <a:gd name="connsiteX26" fmla="*/ 4511 w 29762"/>
                <a:gd name="connsiteY26" fmla="*/ 2167 h 15343"/>
                <a:gd name="connsiteX27" fmla="*/ 0 w 29762"/>
                <a:gd name="connsiteY27" fmla="*/ 2167 h 1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762" h="15343">
                  <a:moveTo>
                    <a:pt x="13922" y="0"/>
                  </a:moveTo>
                  <a:lnTo>
                    <a:pt x="17473" y="0"/>
                  </a:lnTo>
                  <a:lnTo>
                    <a:pt x="21735" y="12218"/>
                  </a:lnTo>
                  <a:lnTo>
                    <a:pt x="21807" y="12218"/>
                  </a:lnTo>
                  <a:lnTo>
                    <a:pt x="26211" y="0"/>
                  </a:lnTo>
                  <a:lnTo>
                    <a:pt x="29762" y="0"/>
                  </a:lnTo>
                  <a:lnTo>
                    <a:pt x="29762" y="15343"/>
                  </a:lnTo>
                  <a:lnTo>
                    <a:pt x="27347" y="15343"/>
                  </a:lnTo>
                  <a:lnTo>
                    <a:pt x="27347" y="7743"/>
                  </a:lnTo>
                  <a:cubicBezTo>
                    <a:pt x="27347" y="6997"/>
                    <a:pt x="27382" y="6003"/>
                    <a:pt x="27418" y="4759"/>
                  </a:cubicBezTo>
                  <a:cubicBezTo>
                    <a:pt x="27453" y="3552"/>
                    <a:pt x="27489" y="2806"/>
                    <a:pt x="27525" y="2522"/>
                  </a:cubicBezTo>
                  <a:lnTo>
                    <a:pt x="27453" y="2522"/>
                  </a:lnTo>
                  <a:lnTo>
                    <a:pt x="22836" y="15308"/>
                  </a:lnTo>
                  <a:lnTo>
                    <a:pt x="20528" y="15308"/>
                  </a:lnTo>
                  <a:lnTo>
                    <a:pt x="20528" y="15343"/>
                  </a:lnTo>
                  <a:lnTo>
                    <a:pt x="16089" y="2522"/>
                  </a:lnTo>
                  <a:lnTo>
                    <a:pt x="16017" y="2522"/>
                  </a:lnTo>
                  <a:cubicBezTo>
                    <a:pt x="16124" y="4440"/>
                    <a:pt x="16195" y="6216"/>
                    <a:pt x="16195" y="7885"/>
                  </a:cubicBezTo>
                  <a:lnTo>
                    <a:pt x="16195" y="15343"/>
                  </a:lnTo>
                  <a:lnTo>
                    <a:pt x="13922" y="15343"/>
                  </a:lnTo>
                  <a:close/>
                  <a:moveTo>
                    <a:pt x="0" y="0"/>
                  </a:moveTo>
                  <a:lnTo>
                    <a:pt x="11543" y="0"/>
                  </a:lnTo>
                  <a:lnTo>
                    <a:pt x="11543" y="2167"/>
                  </a:lnTo>
                  <a:lnTo>
                    <a:pt x="7032" y="2167"/>
                  </a:lnTo>
                  <a:lnTo>
                    <a:pt x="7032" y="15343"/>
                  </a:lnTo>
                  <a:lnTo>
                    <a:pt x="4511" y="15343"/>
                  </a:lnTo>
                  <a:lnTo>
                    <a:pt x="4511" y="2167"/>
                  </a:lnTo>
                  <a:lnTo>
                    <a:pt x="0" y="2167"/>
                  </a:lnTo>
                  <a:close/>
                </a:path>
              </a:pathLst>
            </a:custGeom>
            <a:solidFill>
              <a:srgbClr val="575756"/>
            </a:solidFill>
            <a:ln w="438" cap="flat">
              <a:noFill/>
              <a:prstDash val="solid"/>
              <a:miter/>
            </a:ln>
          </p:spPr>
          <p:txBody>
            <a:bodyPr wrap="square" rtlCol="0" anchor="ctr">
              <a:noAutofit/>
            </a:bodyPr>
            <a:lstStyle/>
            <a:p>
              <a:endParaRPr lang="en-US" sz="1013" b="0" i="0">
                <a:latin typeface="Nexa Book" pitchFamily="2" charset="77"/>
              </a:endParaRPr>
            </a:p>
          </p:txBody>
        </p:sp>
      </p:grpSp>
      <p:grpSp>
        <p:nvGrpSpPr>
          <p:cNvPr id="74" name="PricingOne Logo">
            <a:extLst>
              <a:ext uri="{FF2B5EF4-FFF2-40B4-BE49-F238E27FC236}">
                <a16:creationId xmlns:a16="http://schemas.microsoft.com/office/drawing/2014/main" id="{122262AD-9CAC-B23B-0078-C95F31FBAE66}"/>
              </a:ext>
            </a:extLst>
          </p:cNvPr>
          <p:cNvGrpSpPr>
            <a:grpSpLocks noChangeAspect="1"/>
          </p:cNvGrpSpPr>
          <p:nvPr/>
        </p:nvGrpSpPr>
        <p:grpSpPr>
          <a:xfrm>
            <a:off x="0" y="0"/>
            <a:ext cx="478680" cy="771524"/>
            <a:chOff x="-1" y="-9332"/>
            <a:chExt cx="469048" cy="756000"/>
          </a:xfrm>
        </p:grpSpPr>
        <p:sp>
          <p:nvSpPr>
            <p:cNvPr id="52" name="Cube">
              <a:extLst>
                <a:ext uri="{FF2B5EF4-FFF2-40B4-BE49-F238E27FC236}">
                  <a16:creationId xmlns:a16="http://schemas.microsoft.com/office/drawing/2014/main" id="{45714027-E53F-5AD1-E6E8-F806B92D8F95}"/>
                </a:ext>
              </a:extLst>
            </p:cNvPr>
            <p:cNvSpPr>
              <a:spLocks/>
            </p:cNvSpPr>
            <p:nvPr/>
          </p:nvSpPr>
          <p:spPr>
            <a:xfrm>
              <a:off x="205796" y="387477"/>
              <a:ext cx="263251" cy="299150"/>
            </a:xfrm>
            <a:custGeom>
              <a:avLst/>
              <a:gdLst>
                <a:gd name="connsiteX0" fmla="*/ 263160 w 263251"/>
                <a:gd name="connsiteY0" fmla="*/ 85699 h 299150"/>
                <a:gd name="connsiteX1" fmla="*/ 263160 w 263251"/>
                <a:gd name="connsiteY1" fmla="*/ 85714 h 299150"/>
                <a:gd name="connsiteX2" fmla="*/ 263160 w 263251"/>
                <a:gd name="connsiteY2" fmla="*/ 91540 h 299150"/>
                <a:gd name="connsiteX3" fmla="*/ 263251 w 263251"/>
                <a:gd name="connsiteY3" fmla="*/ 223072 h 299150"/>
                <a:gd name="connsiteX4" fmla="*/ 258760 w 263251"/>
                <a:gd name="connsiteY4" fmla="*/ 230774 h 299150"/>
                <a:gd name="connsiteX5" fmla="*/ 143616 w 263251"/>
                <a:gd name="connsiteY5" fmla="*/ 297138 h 299150"/>
                <a:gd name="connsiteX6" fmla="*/ 139926 w 263251"/>
                <a:gd name="connsiteY6" fmla="*/ 299150 h 299150"/>
                <a:gd name="connsiteX7" fmla="*/ 139638 w 263251"/>
                <a:gd name="connsiteY7" fmla="*/ 293688 h 299150"/>
                <a:gd name="connsiteX8" fmla="*/ 139578 w 263251"/>
                <a:gd name="connsiteY8" fmla="*/ 161626 h 299150"/>
                <a:gd name="connsiteX9" fmla="*/ 143253 w 263251"/>
                <a:gd name="connsiteY9" fmla="*/ 154484 h 299150"/>
                <a:gd name="connsiteX10" fmla="*/ 257036 w 263251"/>
                <a:gd name="connsiteY10" fmla="*/ 88892 h 299150"/>
                <a:gd name="connsiteX11" fmla="*/ 263160 w 263251"/>
                <a:gd name="connsiteY11" fmla="*/ 85699 h 299150"/>
                <a:gd name="connsiteX12" fmla="*/ 300 w 263251"/>
                <a:gd name="connsiteY12" fmla="*/ 85653 h 299150"/>
                <a:gd name="connsiteX13" fmla="*/ 33445 w 263251"/>
                <a:gd name="connsiteY13" fmla="*/ 104718 h 299150"/>
                <a:gd name="connsiteX14" fmla="*/ 119013 w 263251"/>
                <a:gd name="connsiteY14" fmla="*/ 154136 h 299150"/>
                <a:gd name="connsiteX15" fmla="*/ 123685 w 263251"/>
                <a:gd name="connsiteY15" fmla="*/ 160702 h 299150"/>
                <a:gd name="connsiteX16" fmla="*/ 123565 w 263251"/>
                <a:gd name="connsiteY16" fmla="*/ 295806 h 299150"/>
                <a:gd name="connsiteX17" fmla="*/ 123352 w 263251"/>
                <a:gd name="connsiteY17" fmla="*/ 298969 h 299150"/>
                <a:gd name="connsiteX18" fmla="*/ 119557 w 263251"/>
                <a:gd name="connsiteY18" fmla="*/ 297199 h 299150"/>
                <a:gd name="connsiteX19" fmla="*/ 3264 w 263251"/>
                <a:gd name="connsiteY19" fmla="*/ 229911 h 299150"/>
                <a:gd name="connsiteX20" fmla="*/ 133 w 263251"/>
                <a:gd name="connsiteY20" fmla="*/ 224873 h 299150"/>
                <a:gd name="connsiteX21" fmla="*/ 12 w 263251"/>
                <a:gd name="connsiteY21" fmla="*/ 88195 h 299150"/>
                <a:gd name="connsiteX22" fmla="*/ 300 w 263251"/>
                <a:gd name="connsiteY22" fmla="*/ 85653 h 299150"/>
                <a:gd name="connsiteX23" fmla="*/ 137293 w 263251"/>
                <a:gd name="connsiteY23" fmla="*/ 1813 h 299150"/>
                <a:gd name="connsiteX24" fmla="*/ 249081 w 263251"/>
                <a:gd name="connsiteY24" fmla="*/ 66543 h 299150"/>
                <a:gd name="connsiteX25" fmla="*/ 254888 w 263251"/>
                <a:gd name="connsiteY25" fmla="*/ 70129 h 299150"/>
                <a:gd name="connsiteX26" fmla="*/ 219445 w 263251"/>
                <a:gd name="connsiteY26" fmla="*/ 90692 h 299150"/>
                <a:gd name="connsiteX27" fmla="*/ 135706 w 263251"/>
                <a:gd name="connsiteY27" fmla="*/ 139126 h 299150"/>
                <a:gd name="connsiteX28" fmla="*/ 127283 w 263251"/>
                <a:gd name="connsiteY28" fmla="*/ 139036 h 299150"/>
                <a:gd name="connsiteX29" fmla="*/ 13212 w 263251"/>
                <a:gd name="connsiteY29" fmla="*/ 73050 h 299150"/>
                <a:gd name="connsiteX30" fmla="*/ 8343 w 263251"/>
                <a:gd name="connsiteY30" fmla="*/ 69948 h 299150"/>
                <a:gd name="connsiteX31" fmla="*/ 40006 w 263251"/>
                <a:gd name="connsiteY31" fmla="*/ 51548 h 299150"/>
                <a:gd name="connsiteX32" fmla="*/ 125529 w 263251"/>
                <a:gd name="connsiteY32" fmla="*/ 2010 h 299150"/>
                <a:gd name="connsiteX33" fmla="*/ 137293 w 263251"/>
                <a:gd name="connsiteY33" fmla="*/ 1813 h 29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3251" h="299150">
                  <a:moveTo>
                    <a:pt x="263160" y="85699"/>
                  </a:moveTo>
                  <a:lnTo>
                    <a:pt x="263160" y="85714"/>
                  </a:lnTo>
                  <a:lnTo>
                    <a:pt x="263160" y="91540"/>
                  </a:lnTo>
                  <a:cubicBezTo>
                    <a:pt x="263160" y="135389"/>
                    <a:pt x="263099" y="179238"/>
                    <a:pt x="263251" y="223072"/>
                  </a:cubicBezTo>
                  <a:cubicBezTo>
                    <a:pt x="263251" y="226915"/>
                    <a:pt x="262056" y="228867"/>
                    <a:pt x="258760" y="230774"/>
                  </a:cubicBezTo>
                  <a:cubicBezTo>
                    <a:pt x="220323" y="252789"/>
                    <a:pt x="181976" y="274986"/>
                    <a:pt x="143616" y="297138"/>
                  </a:cubicBezTo>
                  <a:cubicBezTo>
                    <a:pt x="142602" y="297728"/>
                    <a:pt x="141543" y="298258"/>
                    <a:pt x="139926" y="299150"/>
                  </a:cubicBezTo>
                  <a:cubicBezTo>
                    <a:pt x="139805" y="296972"/>
                    <a:pt x="139638" y="295338"/>
                    <a:pt x="139638" y="293688"/>
                  </a:cubicBezTo>
                  <a:cubicBezTo>
                    <a:pt x="139638" y="249673"/>
                    <a:pt x="139638" y="205657"/>
                    <a:pt x="139578" y="161626"/>
                  </a:cubicBezTo>
                  <a:cubicBezTo>
                    <a:pt x="139578" y="158433"/>
                    <a:pt x="140092" y="156285"/>
                    <a:pt x="143253" y="154484"/>
                  </a:cubicBezTo>
                  <a:cubicBezTo>
                    <a:pt x="181235" y="132725"/>
                    <a:pt x="219128" y="110786"/>
                    <a:pt x="257036" y="88892"/>
                  </a:cubicBezTo>
                  <a:cubicBezTo>
                    <a:pt x="258790" y="87878"/>
                    <a:pt x="260620" y="87015"/>
                    <a:pt x="263160" y="85699"/>
                  </a:cubicBezTo>
                  <a:close/>
                  <a:moveTo>
                    <a:pt x="300" y="85653"/>
                  </a:moveTo>
                  <a:cubicBezTo>
                    <a:pt x="11776" y="92250"/>
                    <a:pt x="22618" y="98469"/>
                    <a:pt x="33445" y="104718"/>
                  </a:cubicBezTo>
                  <a:cubicBezTo>
                    <a:pt x="61962" y="121196"/>
                    <a:pt x="90465" y="137703"/>
                    <a:pt x="119013" y="154136"/>
                  </a:cubicBezTo>
                  <a:cubicBezTo>
                    <a:pt x="121644" y="155648"/>
                    <a:pt x="123700" y="156874"/>
                    <a:pt x="123685" y="160702"/>
                  </a:cubicBezTo>
                  <a:cubicBezTo>
                    <a:pt x="123519" y="205732"/>
                    <a:pt x="123580" y="250777"/>
                    <a:pt x="123565" y="295806"/>
                  </a:cubicBezTo>
                  <a:cubicBezTo>
                    <a:pt x="123565" y="296668"/>
                    <a:pt x="123458" y="297531"/>
                    <a:pt x="123352" y="298969"/>
                  </a:cubicBezTo>
                  <a:cubicBezTo>
                    <a:pt x="121901" y="298303"/>
                    <a:pt x="120676" y="297834"/>
                    <a:pt x="119557" y="297199"/>
                  </a:cubicBezTo>
                  <a:cubicBezTo>
                    <a:pt x="80757" y="274819"/>
                    <a:pt x="41957" y="252441"/>
                    <a:pt x="3264" y="229911"/>
                  </a:cubicBezTo>
                  <a:cubicBezTo>
                    <a:pt x="1721" y="229019"/>
                    <a:pt x="133" y="226582"/>
                    <a:pt x="133" y="224873"/>
                  </a:cubicBezTo>
                  <a:cubicBezTo>
                    <a:pt x="-33" y="179313"/>
                    <a:pt x="-3" y="133754"/>
                    <a:pt x="12" y="88195"/>
                  </a:cubicBezTo>
                  <a:cubicBezTo>
                    <a:pt x="12" y="87681"/>
                    <a:pt x="118" y="87151"/>
                    <a:pt x="300" y="85653"/>
                  </a:cubicBezTo>
                  <a:close/>
                  <a:moveTo>
                    <a:pt x="137293" y="1813"/>
                  </a:moveTo>
                  <a:cubicBezTo>
                    <a:pt x="174460" y="23556"/>
                    <a:pt x="211793" y="44997"/>
                    <a:pt x="249081" y="66543"/>
                  </a:cubicBezTo>
                  <a:cubicBezTo>
                    <a:pt x="250820" y="67542"/>
                    <a:pt x="252514" y="68661"/>
                    <a:pt x="254888" y="70129"/>
                  </a:cubicBezTo>
                  <a:cubicBezTo>
                    <a:pt x="242594" y="77256"/>
                    <a:pt x="231027" y="83989"/>
                    <a:pt x="219445" y="90692"/>
                  </a:cubicBezTo>
                  <a:cubicBezTo>
                    <a:pt x="191516" y="106822"/>
                    <a:pt x="163543" y="122861"/>
                    <a:pt x="135706" y="139126"/>
                  </a:cubicBezTo>
                  <a:cubicBezTo>
                    <a:pt x="132515" y="140988"/>
                    <a:pt x="130428" y="140851"/>
                    <a:pt x="127283" y="139036"/>
                  </a:cubicBezTo>
                  <a:cubicBezTo>
                    <a:pt x="89315" y="116929"/>
                    <a:pt x="51256" y="95020"/>
                    <a:pt x="13212" y="73050"/>
                  </a:cubicBezTo>
                  <a:cubicBezTo>
                    <a:pt x="11745" y="72202"/>
                    <a:pt x="10354" y="71219"/>
                    <a:pt x="8343" y="69948"/>
                  </a:cubicBezTo>
                  <a:cubicBezTo>
                    <a:pt x="19275" y="63592"/>
                    <a:pt x="29618" y="57541"/>
                    <a:pt x="40006" y="51548"/>
                  </a:cubicBezTo>
                  <a:cubicBezTo>
                    <a:pt x="68524" y="35056"/>
                    <a:pt x="97117" y="18684"/>
                    <a:pt x="125529" y="2010"/>
                  </a:cubicBezTo>
                  <a:cubicBezTo>
                    <a:pt x="129763" y="-472"/>
                    <a:pt x="132862" y="-790"/>
                    <a:pt x="137293" y="1813"/>
                  </a:cubicBezTo>
                  <a:close/>
                </a:path>
              </a:pathLst>
            </a:custGeom>
            <a:solidFill>
              <a:srgbClr val="00A099"/>
            </a:solidFill>
            <a:ln w="453" cap="flat">
              <a:solidFill>
                <a:srgbClr val="04A8B5"/>
              </a:solidFill>
              <a:prstDash val="solid"/>
              <a:miter/>
            </a:ln>
          </p:spPr>
          <p:txBody>
            <a:bodyPr wrap="square" rtlCol="0" anchor="ctr">
              <a:noAutofit/>
            </a:bodyPr>
            <a:lstStyle/>
            <a:p>
              <a:endParaRPr lang="en-US" sz="1013" b="0" i="0">
                <a:latin typeface="Nexa Book" pitchFamily="2" charset="77"/>
              </a:endParaRPr>
            </a:p>
          </p:txBody>
        </p:sp>
        <p:sp>
          <p:nvSpPr>
            <p:cNvPr id="13" name="O">
              <a:extLst>
                <a:ext uri="{FF2B5EF4-FFF2-40B4-BE49-F238E27FC236}">
                  <a16:creationId xmlns:a16="http://schemas.microsoft.com/office/drawing/2014/main" id="{A6A1B091-7952-82E0-226C-14D34CD0804A}"/>
                </a:ext>
              </a:extLst>
            </p:cNvPr>
            <p:cNvSpPr>
              <a:spLocks/>
            </p:cNvSpPr>
            <p:nvPr/>
          </p:nvSpPr>
          <p:spPr>
            <a:xfrm>
              <a:off x="295895" y="428912"/>
              <a:ext cx="88518" cy="51334"/>
            </a:xfrm>
            <a:custGeom>
              <a:avLst/>
              <a:gdLst>
                <a:gd name="connsiteX0" fmla="*/ 108380 w 123408"/>
                <a:gd name="connsiteY0" fmla="*/ 49668 h 71567"/>
                <a:gd name="connsiteX1" fmla="*/ 97292 w 123408"/>
                <a:gd name="connsiteY1" fmla="*/ 56418 h 71567"/>
                <a:gd name="connsiteX2" fmla="*/ 85697 w 123408"/>
                <a:gd name="connsiteY2" fmla="*/ 62873 h 71567"/>
                <a:gd name="connsiteX3" fmla="*/ 63626 w 123408"/>
                <a:gd name="connsiteY3" fmla="*/ 70425 h 71567"/>
                <a:gd name="connsiteX4" fmla="*/ 39151 w 123408"/>
                <a:gd name="connsiteY4" fmla="*/ 70678 h 71567"/>
                <a:gd name="connsiteX5" fmla="*/ 15752 w 123408"/>
                <a:gd name="connsiteY5" fmla="*/ 62472 h 71567"/>
                <a:gd name="connsiteX6" fmla="*/ 1564 w 123408"/>
                <a:gd name="connsiteY6" fmla="*/ 48950 h 71567"/>
                <a:gd name="connsiteX7" fmla="*/ 1923 w 123408"/>
                <a:gd name="connsiteY7" fmla="*/ 34754 h 71567"/>
                <a:gd name="connsiteX8" fmla="*/ 14908 w 123408"/>
                <a:gd name="connsiteY8" fmla="*/ 21949 h 71567"/>
                <a:gd name="connsiteX9" fmla="*/ 26123 w 123408"/>
                <a:gd name="connsiteY9" fmla="*/ 15283 h 71567"/>
                <a:gd name="connsiteX10" fmla="*/ 37612 w 123408"/>
                <a:gd name="connsiteY10" fmla="*/ 8765 h 71567"/>
                <a:gd name="connsiteX11" fmla="*/ 59536 w 123408"/>
                <a:gd name="connsiteY11" fmla="*/ 1129 h 71567"/>
                <a:gd name="connsiteX12" fmla="*/ 84095 w 123408"/>
                <a:gd name="connsiteY12" fmla="*/ 918 h 71567"/>
                <a:gd name="connsiteX13" fmla="*/ 107516 w 123408"/>
                <a:gd name="connsiteY13" fmla="*/ 9145 h 71567"/>
                <a:gd name="connsiteX14" fmla="*/ 121809 w 123408"/>
                <a:gd name="connsiteY14" fmla="*/ 22708 h 71567"/>
                <a:gd name="connsiteX15" fmla="*/ 121492 w 123408"/>
                <a:gd name="connsiteY15" fmla="*/ 36926 h 71567"/>
                <a:gd name="connsiteX16" fmla="*/ 108401 w 123408"/>
                <a:gd name="connsiteY16" fmla="*/ 49668 h 71567"/>
                <a:gd name="connsiteX17" fmla="*/ 74145 w 123408"/>
                <a:gd name="connsiteY17" fmla="*/ 55448 h 71567"/>
                <a:gd name="connsiteX18" fmla="*/ 85107 w 123408"/>
                <a:gd name="connsiteY18" fmla="*/ 49372 h 71567"/>
                <a:gd name="connsiteX19" fmla="*/ 95563 w 123408"/>
                <a:gd name="connsiteY19" fmla="*/ 43002 h 71567"/>
                <a:gd name="connsiteX20" fmla="*/ 106588 w 123408"/>
                <a:gd name="connsiteY20" fmla="*/ 28847 h 71567"/>
                <a:gd name="connsiteX21" fmla="*/ 96048 w 123408"/>
                <a:gd name="connsiteY21" fmla="*/ 15789 h 71567"/>
                <a:gd name="connsiteX22" fmla="*/ 73513 w 123408"/>
                <a:gd name="connsiteY22" fmla="*/ 9714 h 71567"/>
                <a:gd name="connsiteX23" fmla="*/ 49143 w 123408"/>
                <a:gd name="connsiteY23" fmla="*/ 16169 h 71567"/>
                <a:gd name="connsiteX24" fmla="*/ 38308 w 123408"/>
                <a:gd name="connsiteY24" fmla="*/ 22329 h 71567"/>
                <a:gd name="connsiteX25" fmla="*/ 27747 w 123408"/>
                <a:gd name="connsiteY25" fmla="*/ 28636 h 71567"/>
                <a:gd name="connsiteX26" fmla="*/ 16700 w 123408"/>
                <a:gd name="connsiteY26" fmla="*/ 42791 h 71567"/>
                <a:gd name="connsiteX27" fmla="*/ 27262 w 123408"/>
                <a:gd name="connsiteY27" fmla="*/ 55827 h 71567"/>
                <a:gd name="connsiteX28" fmla="*/ 49797 w 123408"/>
                <a:gd name="connsiteY28" fmla="*/ 61924 h 71567"/>
                <a:gd name="connsiteX29" fmla="*/ 74187 w 123408"/>
                <a:gd name="connsiteY29" fmla="*/ 55469 h 7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3408" h="71567">
                  <a:moveTo>
                    <a:pt x="108380" y="49668"/>
                  </a:moveTo>
                  <a:cubicBezTo>
                    <a:pt x="103447" y="52726"/>
                    <a:pt x="99758" y="54983"/>
                    <a:pt x="97292" y="56418"/>
                  </a:cubicBezTo>
                  <a:cubicBezTo>
                    <a:pt x="94825" y="57852"/>
                    <a:pt x="90946" y="60004"/>
                    <a:pt x="85697" y="62873"/>
                  </a:cubicBezTo>
                  <a:cubicBezTo>
                    <a:pt x="78973" y="66480"/>
                    <a:pt x="71637" y="68990"/>
                    <a:pt x="63626" y="70425"/>
                  </a:cubicBezTo>
                  <a:cubicBezTo>
                    <a:pt x="55615" y="71859"/>
                    <a:pt x="47478" y="71944"/>
                    <a:pt x="39151" y="70678"/>
                  </a:cubicBezTo>
                  <a:cubicBezTo>
                    <a:pt x="30824" y="69412"/>
                    <a:pt x="23046" y="66691"/>
                    <a:pt x="15752" y="62472"/>
                  </a:cubicBezTo>
                  <a:cubicBezTo>
                    <a:pt x="8458" y="58253"/>
                    <a:pt x="3757" y="53760"/>
                    <a:pt x="1564" y="48950"/>
                  </a:cubicBezTo>
                  <a:cubicBezTo>
                    <a:pt x="-628" y="44120"/>
                    <a:pt x="-523" y="39394"/>
                    <a:pt x="1923" y="34754"/>
                  </a:cubicBezTo>
                  <a:cubicBezTo>
                    <a:pt x="4368" y="30113"/>
                    <a:pt x="8711" y="25852"/>
                    <a:pt x="14908" y="21949"/>
                  </a:cubicBezTo>
                  <a:cubicBezTo>
                    <a:pt x="17375" y="20409"/>
                    <a:pt x="21106" y="18194"/>
                    <a:pt x="26123" y="15283"/>
                  </a:cubicBezTo>
                  <a:cubicBezTo>
                    <a:pt x="31141" y="12372"/>
                    <a:pt x="34956" y="10199"/>
                    <a:pt x="37612" y="8765"/>
                  </a:cubicBezTo>
                  <a:cubicBezTo>
                    <a:pt x="44211" y="5115"/>
                    <a:pt x="51526" y="2563"/>
                    <a:pt x="59536" y="1129"/>
                  </a:cubicBezTo>
                  <a:cubicBezTo>
                    <a:pt x="67547" y="-306"/>
                    <a:pt x="75726" y="-369"/>
                    <a:pt x="84095" y="918"/>
                  </a:cubicBezTo>
                  <a:cubicBezTo>
                    <a:pt x="92464" y="2204"/>
                    <a:pt x="100264" y="4947"/>
                    <a:pt x="107516" y="9145"/>
                  </a:cubicBezTo>
                  <a:cubicBezTo>
                    <a:pt x="114768" y="13342"/>
                    <a:pt x="119553" y="17857"/>
                    <a:pt x="121809" y="22708"/>
                  </a:cubicBezTo>
                  <a:cubicBezTo>
                    <a:pt x="124043" y="27539"/>
                    <a:pt x="123938" y="32285"/>
                    <a:pt x="121492" y="36926"/>
                  </a:cubicBezTo>
                  <a:cubicBezTo>
                    <a:pt x="119047" y="41567"/>
                    <a:pt x="114683" y="45828"/>
                    <a:pt x="108401" y="49668"/>
                  </a:cubicBezTo>
                  <a:close/>
                  <a:moveTo>
                    <a:pt x="74145" y="55448"/>
                  </a:moveTo>
                  <a:cubicBezTo>
                    <a:pt x="79394" y="52579"/>
                    <a:pt x="83062" y="50554"/>
                    <a:pt x="85107" y="49372"/>
                  </a:cubicBezTo>
                  <a:cubicBezTo>
                    <a:pt x="87152" y="48191"/>
                    <a:pt x="90630" y="46060"/>
                    <a:pt x="95563" y="43002"/>
                  </a:cubicBezTo>
                  <a:cubicBezTo>
                    <a:pt x="103110" y="38297"/>
                    <a:pt x="106799" y="33593"/>
                    <a:pt x="106588" y="28847"/>
                  </a:cubicBezTo>
                  <a:cubicBezTo>
                    <a:pt x="106399" y="24101"/>
                    <a:pt x="102878" y="19734"/>
                    <a:pt x="96048" y="15789"/>
                  </a:cubicBezTo>
                  <a:cubicBezTo>
                    <a:pt x="89218" y="11845"/>
                    <a:pt x="81692" y="9820"/>
                    <a:pt x="73513" y="9714"/>
                  </a:cubicBezTo>
                  <a:cubicBezTo>
                    <a:pt x="65333" y="9609"/>
                    <a:pt x="57217" y="11760"/>
                    <a:pt x="49143" y="16169"/>
                  </a:cubicBezTo>
                  <a:cubicBezTo>
                    <a:pt x="46487" y="17604"/>
                    <a:pt x="42904" y="19650"/>
                    <a:pt x="38308" y="22329"/>
                  </a:cubicBezTo>
                  <a:cubicBezTo>
                    <a:pt x="33712" y="25008"/>
                    <a:pt x="30192" y="27096"/>
                    <a:pt x="27747" y="28636"/>
                  </a:cubicBezTo>
                  <a:cubicBezTo>
                    <a:pt x="20179" y="33340"/>
                    <a:pt x="16511" y="38044"/>
                    <a:pt x="16700" y="42791"/>
                  </a:cubicBezTo>
                  <a:cubicBezTo>
                    <a:pt x="16911" y="47516"/>
                    <a:pt x="20432" y="51883"/>
                    <a:pt x="27262" y="55827"/>
                  </a:cubicBezTo>
                  <a:cubicBezTo>
                    <a:pt x="34092" y="59772"/>
                    <a:pt x="41618" y="61818"/>
                    <a:pt x="49797" y="61924"/>
                  </a:cubicBezTo>
                  <a:cubicBezTo>
                    <a:pt x="57976" y="62008"/>
                    <a:pt x="66092" y="59877"/>
                    <a:pt x="74187" y="55469"/>
                  </a:cubicBezTo>
                </a:path>
              </a:pathLst>
            </a:custGeom>
            <a:solidFill>
              <a:srgbClr val="DCDCDC"/>
            </a:solidFill>
            <a:ln w="453" cap="flat">
              <a:noFill/>
              <a:prstDash val="solid"/>
              <a:miter/>
            </a:ln>
          </p:spPr>
          <p:txBody>
            <a:bodyPr rtlCol="0" anchor="ctr"/>
            <a:lstStyle/>
            <a:p>
              <a:endParaRPr lang="en-US" sz="1013" b="0" i="0">
                <a:latin typeface="Nexa Book" pitchFamily="2" charset="77"/>
              </a:endParaRPr>
            </a:p>
          </p:txBody>
        </p:sp>
        <p:sp>
          <p:nvSpPr>
            <p:cNvPr id="14" name="N">
              <a:extLst>
                <a:ext uri="{FF2B5EF4-FFF2-40B4-BE49-F238E27FC236}">
                  <a16:creationId xmlns:a16="http://schemas.microsoft.com/office/drawing/2014/main" id="{5043DE0B-B68A-8ED7-248B-EBC50E5DC0C6}"/>
                </a:ext>
              </a:extLst>
            </p:cNvPr>
            <p:cNvSpPr>
              <a:spLocks/>
            </p:cNvSpPr>
            <p:nvPr/>
          </p:nvSpPr>
          <p:spPr>
            <a:xfrm>
              <a:off x="238560" y="531137"/>
              <a:ext cx="48220" cy="99641"/>
            </a:xfrm>
            <a:custGeom>
              <a:avLst/>
              <a:gdLst>
                <a:gd name="connsiteX0" fmla="*/ 63790 w 67226"/>
                <a:gd name="connsiteY0" fmla="*/ 35174 h 138914"/>
                <a:gd name="connsiteX1" fmla="*/ 66214 w 67226"/>
                <a:gd name="connsiteY1" fmla="*/ 37747 h 138914"/>
                <a:gd name="connsiteX2" fmla="*/ 67226 w 67226"/>
                <a:gd name="connsiteY2" fmla="*/ 41165 h 138914"/>
                <a:gd name="connsiteX3" fmla="*/ 66952 w 67226"/>
                <a:gd name="connsiteY3" fmla="*/ 136450 h 138914"/>
                <a:gd name="connsiteX4" fmla="*/ 65919 w 67226"/>
                <a:gd name="connsiteY4" fmla="*/ 138665 h 138914"/>
                <a:gd name="connsiteX5" fmla="*/ 63474 w 67226"/>
                <a:gd name="connsiteY5" fmla="*/ 138433 h 138914"/>
                <a:gd name="connsiteX6" fmla="*/ 58984 w 67226"/>
                <a:gd name="connsiteY6" fmla="*/ 135838 h 138914"/>
                <a:gd name="connsiteX7" fmla="*/ 56180 w 67226"/>
                <a:gd name="connsiteY7" fmla="*/ 133032 h 138914"/>
                <a:gd name="connsiteX8" fmla="*/ 53882 w 67226"/>
                <a:gd name="connsiteY8" fmla="*/ 128455 h 138914"/>
                <a:gd name="connsiteX9" fmla="*/ 12395 w 67226"/>
                <a:gd name="connsiteY9" fmla="*/ 32242 h 138914"/>
                <a:gd name="connsiteX10" fmla="*/ 12185 w 67226"/>
                <a:gd name="connsiteY10" fmla="*/ 104808 h 138914"/>
                <a:gd name="connsiteX11" fmla="*/ 11131 w 67226"/>
                <a:gd name="connsiteY11" fmla="*/ 107001 h 138914"/>
                <a:gd name="connsiteX12" fmla="*/ 8706 w 67226"/>
                <a:gd name="connsiteY12" fmla="*/ 106769 h 138914"/>
                <a:gd name="connsiteX13" fmla="*/ 3436 w 67226"/>
                <a:gd name="connsiteY13" fmla="*/ 103732 h 138914"/>
                <a:gd name="connsiteX14" fmla="*/ 1012 w 67226"/>
                <a:gd name="connsiteY14" fmla="*/ 101158 h 138914"/>
                <a:gd name="connsiteX15" fmla="*/ 0 w 67226"/>
                <a:gd name="connsiteY15" fmla="*/ 97762 h 138914"/>
                <a:gd name="connsiteX16" fmla="*/ 274 w 67226"/>
                <a:gd name="connsiteY16" fmla="*/ 2477 h 138914"/>
                <a:gd name="connsiteX17" fmla="*/ 1307 w 67226"/>
                <a:gd name="connsiteY17" fmla="*/ 241 h 138914"/>
                <a:gd name="connsiteX18" fmla="*/ 3752 w 67226"/>
                <a:gd name="connsiteY18" fmla="*/ 473 h 138914"/>
                <a:gd name="connsiteX19" fmla="*/ 8243 w 67226"/>
                <a:gd name="connsiteY19" fmla="*/ 3068 h 138914"/>
                <a:gd name="connsiteX20" fmla="*/ 11046 w 67226"/>
                <a:gd name="connsiteY20" fmla="*/ 5873 h 138914"/>
                <a:gd name="connsiteX21" fmla="*/ 13344 w 67226"/>
                <a:gd name="connsiteY21" fmla="*/ 10451 h 138914"/>
                <a:gd name="connsiteX22" fmla="*/ 54831 w 67226"/>
                <a:gd name="connsiteY22" fmla="*/ 106664 h 138914"/>
                <a:gd name="connsiteX23" fmla="*/ 55042 w 67226"/>
                <a:gd name="connsiteY23" fmla="*/ 34119 h 138914"/>
                <a:gd name="connsiteX24" fmla="*/ 56075 w 67226"/>
                <a:gd name="connsiteY24" fmla="*/ 31883 h 138914"/>
                <a:gd name="connsiteX25" fmla="*/ 58520 w 67226"/>
                <a:gd name="connsiteY25" fmla="*/ 32115 h 138914"/>
                <a:gd name="connsiteX26" fmla="*/ 63790 w 67226"/>
                <a:gd name="connsiteY26" fmla="*/ 35153 h 1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7226" h="138914">
                  <a:moveTo>
                    <a:pt x="63790" y="35174"/>
                  </a:moveTo>
                  <a:cubicBezTo>
                    <a:pt x="64739" y="35722"/>
                    <a:pt x="65540" y="36587"/>
                    <a:pt x="66214" y="37747"/>
                  </a:cubicBezTo>
                  <a:cubicBezTo>
                    <a:pt x="66889" y="38929"/>
                    <a:pt x="67226" y="40047"/>
                    <a:pt x="67226" y="41165"/>
                  </a:cubicBezTo>
                  <a:lnTo>
                    <a:pt x="66952" y="136450"/>
                  </a:lnTo>
                  <a:cubicBezTo>
                    <a:pt x="66952" y="137525"/>
                    <a:pt x="66594" y="138264"/>
                    <a:pt x="65919" y="138665"/>
                  </a:cubicBezTo>
                  <a:cubicBezTo>
                    <a:pt x="65224" y="139065"/>
                    <a:pt x="64423" y="138981"/>
                    <a:pt x="63474" y="138433"/>
                  </a:cubicBezTo>
                  <a:lnTo>
                    <a:pt x="58984" y="135838"/>
                  </a:lnTo>
                  <a:cubicBezTo>
                    <a:pt x="57888" y="135205"/>
                    <a:pt x="56939" y="134277"/>
                    <a:pt x="56180" y="133032"/>
                  </a:cubicBezTo>
                  <a:cubicBezTo>
                    <a:pt x="55421" y="131809"/>
                    <a:pt x="54641" y="130269"/>
                    <a:pt x="53882" y="128455"/>
                  </a:cubicBezTo>
                  <a:lnTo>
                    <a:pt x="12395" y="32242"/>
                  </a:lnTo>
                  <a:lnTo>
                    <a:pt x="12185" y="104808"/>
                  </a:lnTo>
                  <a:cubicBezTo>
                    <a:pt x="12185" y="105883"/>
                    <a:pt x="11847" y="106622"/>
                    <a:pt x="11131" y="107001"/>
                  </a:cubicBezTo>
                  <a:cubicBezTo>
                    <a:pt x="10456" y="107402"/>
                    <a:pt x="9655" y="107318"/>
                    <a:pt x="8706" y="106769"/>
                  </a:cubicBezTo>
                  <a:lnTo>
                    <a:pt x="3436" y="103732"/>
                  </a:lnTo>
                  <a:cubicBezTo>
                    <a:pt x="2488" y="103183"/>
                    <a:pt x="1686" y="102339"/>
                    <a:pt x="1012" y="101158"/>
                  </a:cubicBezTo>
                  <a:cubicBezTo>
                    <a:pt x="337" y="99977"/>
                    <a:pt x="0" y="98859"/>
                    <a:pt x="0" y="97762"/>
                  </a:cubicBezTo>
                  <a:lnTo>
                    <a:pt x="274" y="2477"/>
                  </a:lnTo>
                  <a:cubicBezTo>
                    <a:pt x="274" y="1380"/>
                    <a:pt x="611" y="642"/>
                    <a:pt x="1307" y="241"/>
                  </a:cubicBezTo>
                  <a:cubicBezTo>
                    <a:pt x="2003" y="-139"/>
                    <a:pt x="2804" y="-76"/>
                    <a:pt x="3752" y="473"/>
                  </a:cubicBezTo>
                  <a:lnTo>
                    <a:pt x="8243" y="3068"/>
                  </a:lnTo>
                  <a:cubicBezTo>
                    <a:pt x="9339" y="3700"/>
                    <a:pt x="10287" y="4650"/>
                    <a:pt x="11046" y="5873"/>
                  </a:cubicBezTo>
                  <a:cubicBezTo>
                    <a:pt x="11826" y="7118"/>
                    <a:pt x="12585" y="8637"/>
                    <a:pt x="13344" y="10451"/>
                  </a:cubicBezTo>
                  <a:lnTo>
                    <a:pt x="54831" y="106664"/>
                  </a:lnTo>
                  <a:lnTo>
                    <a:pt x="55042" y="34119"/>
                  </a:lnTo>
                  <a:cubicBezTo>
                    <a:pt x="55042" y="33022"/>
                    <a:pt x="55379" y="32284"/>
                    <a:pt x="56075" y="31883"/>
                  </a:cubicBezTo>
                  <a:cubicBezTo>
                    <a:pt x="56770" y="31503"/>
                    <a:pt x="57571" y="31567"/>
                    <a:pt x="58520" y="32115"/>
                  </a:cubicBezTo>
                  <a:lnTo>
                    <a:pt x="63790" y="35153"/>
                  </a:lnTo>
                  <a:close/>
                </a:path>
              </a:pathLst>
            </a:custGeom>
            <a:solidFill>
              <a:srgbClr val="FFFFFF"/>
            </a:solidFill>
            <a:ln w="453" cap="flat">
              <a:noFill/>
              <a:prstDash val="solid"/>
              <a:miter/>
            </a:ln>
          </p:spPr>
          <p:txBody>
            <a:bodyPr rtlCol="0" anchor="ctr"/>
            <a:lstStyle/>
            <a:p>
              <a:endParaRPr lang="en-US" sz="1013" b="0" i="0">
                <a:latin typeface="Nexa Book" pitchFamily="2" charset="77"/>
              </a:endParaRPr>
            </a:p>
          </p:txBody>
        </p:sp>
        <p:sp>
          <p:nvSpPr>
            <p:cNvPr id="15" name="E">
              <a:extLst>
                <a:ext uri="{FF2B5EF4-FFF2-40B4-BE49-F238E27FC236}">
                  <a16:creationId xmlns:a16="http://schemas.microsoft.com/office/drawing/2014/main" id="{EAF64219-666E-A102-563F-42073AB1B74A}"/>
                </a:ext>
              </a:extLst>
            </p:cNvPr>
            <p:cNvSpPr>
              <a:spLocks/>
            </p:cNvSpPr>
            <p:nvPr/>
          </p:nvSpPr>
          <p:spPr>
            <a:xfrm>
              <a:off x="389344" y="535788"/>
              <a:ext cx="42307" cy="95762"/>
            </a:xfrm>
            <a:custGeom>
              <a:avLst/>
              <a:gdLst>
                <a:gd name="connsiteX0" fmla="*/ 54198 w 58983"/>
                <a:gd name="connsiteY0" fmla="*/ 486 h 133506"/>
                <a:gd name="connsiteX1" fmla="*/ 56644 w 58983"/>
                <a:gd name="connsiteY1" fmla="*/ 233 h 133506"/>
                <a:gd name="connsiteX2" fmla="*/ 57677 w 58983"/>
                <a:gd name="connsiteY2" fmla="*/ 2469 h 133506"/>
                <a:gd name="connsiteX3" fmla="*/ 57677 w 58983"/>
                <a:gd name="connsiteY3" fmla="*/ 7785 h 133506"/>
                <a:gd name="connsiteX4" fmla="*/ 56686 w 58983"/>
                <a:gd name="connsiteY4" fmla="*/ 11181 h 133506"/>
                <a:gd name="connsiteX5" fmla="*/ 54262 w 58983"/>
                <a:gd name="connsiteY5" fmla="*/ 13755 h 133506"/>
                <a:gd name="connsiteX6" fmla="*/ 12185 w 58983"/>
                <a:gd name="connsiteY6" fmla="*/ 38056 h 133506"/>
                <a:gd name="connsiteX7" fmla="*/ 12269 w 58983"/>
                <a:gd name="connsiteY7" fmla="*/ 69171 h 133506"/>
                <a:gd name="connsiteX8" fmla="*/ 51521 w 58983"/>
                <a:gd name="connsiteY8" fmla="*/ 46494 h 133506"/>
                <a:gd name="connsiteX9" fmla="*/ 53967 w 58983"/>
                <a:gd name="connsiteY9" fmla="*/ 46262 h 133506"/>
                <a:gd name="connsiteX10" fmla="*/ 55021 w 58983"/>
                <a:gd name="connsiteY10" fmla="*/ 48456 h 133506"/>
                <a:gd name="connsiteX11" fmla="*/ 55021 w 58983"/>
                <a:gd name="connsiteY11" fmla="*/ 53771 h 133506"/>
                <a:gd name="connsiteX12" fmla="*/ 54009 w 58983"/>
                <a:gd name="connsiteY12" fmla="*/ 57147 h 133506"/>
                <a:gd name="connsiteX13" fmla="*/ 51584 w 58983"/>
                <a:gd name="connsiteY13" fmla="*/ 59741 h 133506"/>
                <a:gd name="connsiteX14" fmla="*/ 12332 w 58983"/>
                <a:gd name="connsiteY14" fmla="*/ 82418 h 133506"/>
                <a:gd name="connsiteX15" fmla="*/ 12417 w 58983"/>
                <a:gd name="connsiteY15" fmla="*/ 114714 h 133506"/>
                <a:gd name="connsiteX16" fmla="*/ 55505 w 58983"/>
                <a:gd name="connsiteY16" fmla="*/ 89822 h 133506"/>
                <a:gd name="connsiteX17" fmla="*/ 57951 w 58983"/>
                <a:gd name="connsiteY17" fmla="*/ 89590 h 133506"/>
                <a:gd name="connsiteX18" fmla="*/ 58984 w 58983"/>
                <a:gd name="connsiteY18" fmla="*/ 91805 h 133506"/>
                <a:gd name="connsiteX19" fmla="*/ 58984 w 58983"/>
                <a:gd name="connsiteY19" fmla="*/ 97121 h 133506"/>
                <a:gd name="connsiteX20" fmla="*/ 57993 w 58983"/>
                <a:gd name="connsiteY20" fmla="*/ 100517 h 133506"/>
                <a:gd name="connsiteX21" fmla="*/ 55569 w 58983"/>
                <a:gd name="connsiteY21" fmla="*/ 103091 h 133506"/>
                <a:gd name="connsiteX22" fmla="*/ 3752 w 58983"/>
                <a:gd name="connsiteY22" fmla="*/ 133024 h 133506"/>
                <a:gd name="connsiteX23" fmla="*/ 1307 w 58983"/>
                <a:gd name="connsiteY23" fmla="*/ 133256 h 133506"/>
                <a:gd name="connsiteX24" fmla="*/ 274 w 58983"/>
                <a:gd name="connsiteY24" fmla="*/ 131042 h 133506"/>
                <a:gd name="connsiteX25" fmla="*/ 0 w 58983"/>
                <a:gd name="connsiteY25" fmla="*/ 35757 h 133506"/>
                <a:gd name="connsiteX26" fmla="*/ 1012 w 58983"/>
                <a:gd name="connsiteY26" fmla="*/ 32339 h 133506"/>
                <a:gd name="connsiteX27" fmla="*/ 3436 w 58983"/>
                <a:gd name="connsiteY27" fmla="*/ 29766 h 133506"/>
                <a:gd name="connsiteX28" fmla="*/ 54241 w 58983"/>
                <a:gd name="connsiteY28" fmla="*/ 423 h 13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83" h="133506">
                  <a:moveTo>
                    <a:pt x="54198" y="486"/>
                  </a:moveTo>
                  <a:cubicBezTo>
                    <a:pt x="55147" y="-62"/>
                    <a:pt x="55948" y="-147"/>
                    <a:pt x="56644" y="233"/>
                  </a:cubicBezTo>
                  <a:cubicBezTo>
                    <a:pt x="57318" y="655"/>
                    <a:pt x="57677" y="1372"/>
                    <a:pt x="57677" y="2469"/>
                  </a:cubicBezTo>
                  <a:lnTo>
                    <a:pt x="57677" y="7785"/>
                  </a:lnTo>
                  <a:cubicBezTo>
                    <a:pt x="57677" y="8861"/>
                    <a:pt x="57339" y="10000"/>
                    <a:pt x="56686" y="11181"/>
                  </a:cubicBezTo>
                  <a:cubicBezTo>
                    <a:pt x="56011" y="12362"/>
                    <a:pt x="55189" y="13227"/>
                    <a:pt x="54262" y="13755"/>
                  </a:cubicBezTo>
                  <a:lnTo>
                    <a:pt x="12185" y="38056"/>
                  </a:lnTo>
                  <a:lnTo>
                    <a:pt x="12269" y="69171"/>
                  </a:lnTo>
                  <a:lnTo>
                    <a:pt x="51521" y="46494"/>
                  </a:lnTo>
                  <a:cubicBezTo>
                    <a:pt x="52470" y="45945"/>
                    <a:pt x="53271" y="45861"/>
                    <a:pt x="53967" y="46262"/>
                  </a:cubicBezTo>
                  <a:cubicBezTo>
                    <a:pt x="54662" y="46663"/>
                    <a:pt x="55000" y="47380"/>
                    <a:pt x="55021" y="48456"/>
                  </a:cubicBezTo>
                  <a:lnTo>
                    <a:pt x="55021" y="53771"/>
                  </a:lnTo>
                  <a:cubicBezTo>
                    <a:pt x="55021" y="54847"/>
                    <a:pt x="54704" y="55986"/>
                    <a:pt x="54009" y="57147"/>
                  </a:cubicBezTo>
                  <a:cubicBezTo>
                    <a:pt x="53334" y="58328"/>
                    <a:pt x="52512" y="59193"/>
                    <a:pt x="51584" y="59741"/>
                  </a:cubicBezTo>
                  <a:lnTo>
                    <a:pt x="12332" y="82418"/>
                  </a:lnTo>
                  <a:lnTo>
                    <a:pt x="12417" y="114714"/>
                  </a:lnTo>
                  <a:lnTo>
                    <a:pt x="55505" y="89822"/>
                  </a:lnTo>
                  <a:cubicBezTo>
                    <a:pt x="56454" y="89274"/>
                    <a:pt x="57255" y="89189"/>
                    <a:pt x="57951" y="89590"/>
                  </a:cubicBezTo>
                  <a:cubicBezTo>
                    <a:pt x="58646" y="89991"/>
                    <a:pt x="58984" y="90708"/>
                    <a:pt x="58984" y="91805"/>
                  </a:cubicBezTo>
                  <a:lnTo>
                    <a:pt x="58984" y="97121"/>
                  </a:lnTo>
                  <a:cubicBezTo>
                    <a:pt x="58984" y="98197"/>
                    <a:pt x="58668" y="99336"/>
                    <a:pt x="57993" y="100517"/>
                  </a:cubicBezTo>
                  <a:cubicBezTo>
                    <a:pt x="57318" y="101699"/>
                    <a:pt x="56496" y="102564"/>
                    <a:pt x="55569" y="103091"/>
                  </a:cubicBezTo>
                  <a:lnTo>
                    <a:pt x="3752" y="133024"/>
                  </a:lnTo>
                  <a:cubicBezTo>
                    <a:pt x="2804" y="133573"/>
                    <a:pt x="2003" y="133657"/>
                    <a:pt x="1307" y="133256"/>
                  </a:cubicBezTo>
                  <a:cubicBezTo>
                    <a:pt x="611" y="132856"/>
                    <a:pt x="274" y="132138"/>
                    <a:pt x="274" y="131042"/>
                  </a:cubicBezTo>
                  <a:lnTo>
                    <a:pt x="0" y="35757"/>
                  </a:lnTo>
                  <a:cubicBezTo>
                    <a:pt x="0" y="34681"/>
                    <a:pt x="337" y="33542"/>
                    <a:pt x="1012" y="32339"/>
                  </a:cubicBezTo>
                  <a:cubicBezTo>
                    <a:pt x="1686" y="31179"/>
                    <a:pt x="2509" y="30314"/>
                    <a:pt x="3436" y="29766"/>
                  </a:cubicBezTo>
                  <a:lnTo>
                    <a:pt x="54241" y="423"/>
                  </a:lnTo>
                  <a:close/>
                </a:path>
              </a:pathLst>
            </a:custGeom>
            <a:solidFill>
              <a:srgbClr val="C5C5C5"/>
            </a:solidFill>
            <a:ln w="453" cap="flat">
              <a:noFill/>
              <a:prstDash val="solid"/>
              <a:miter/>
            </a:ln>
          </p:spPr>
          <p:txBody>
            <a:bodyPr rtlCol="0" anchor="ctr"/>
            <a:lstStyle/>
            <a:p>
              <a:endParaRPr lang="en-US" sz="1013" b="0" i="0">
                <a:latin typeface="Nexa Book" pitchFamily="2" charset="77"/>
              </a:endParaRPr>
            </a:p>
          </p:txBody>
        </p:sp>
        <p:sp>
          <p:nvSpPr>
            <p:cNvPr id="48" name="P">
              <a:extLst>
                <a:ext uri="{FF2B5EF4-FFF2-40B4-BE49-F238E27FC236}">
                  <a16:creationId xmlns:a16="http://schemas.microsoft.com/office/drawing/2014/main" id="{5339B792-0275-C135-0EFC-BACB75AAA783}"/>
                </a:ext>
              </a:extLst>
            </p:cNvPr>
            <p:cNvSpPr>
              <a:spLocks/>
            </p:cNvSpPr>
            <p:nvPr/>
          </p:nvSpPr>
          <p:spPr>
            <a:xfrm>
              <a:off x="-1" y="-9332"/>
              <a:ext cx="331025" cy="756000"/>
            </a:xfrm>
            <a:custGeom>
              <a:avLst/>
              <a:gdLst>
                <a:gd name="connsiteX0" fmla="*/ 331025 w 331025"/>
                <a:gd name="connsiteY0" fmla="*/ 209941 h 756000"/>
                <a:gd name="connsiteX1" fmla="*/ 330632 w 331025"/>
                <a:gd name="connsiteY1" fmla="*/ 349569 h 756000"/>
                <a:gd name="connsiteX2" fmla="*/ 169867 w 331025"/>
                <a:gd name="connsiteY2" fmla="*/ 441807 h 756000"/>
                <a:gd name="connsiteX3" fmla="*/ 170488 w 331025"/>
                <a:gd name="connsiteY3" fmla="*/ 639916 h 756000"/>
                <a:gd name="connsiteX4" fmla="*/ 0 w 331025"/>
                <a:gd name="connsiteY4" fmla="*/ 756000 h 756000"/>
                <a:gd name="connsiteX5" fmla="*/ 499 w 331025"/>
                <a:gd name="connsiteY5" fmla="*/ 410834 h 756000"/>
                <a:gd name="connsiteX6" fmla="*/ 75 w 331025"/>
                <a:gd name="connsiteY6" fmla="*/ 0 h 756000"/>
                <a:gd name="connsiteX7" fmla="*/ 300888 w 331025"/>
                <a:gd name="connsiteY7" fmla="*/ 179438 h 756000"/>
                <a:gd name="connsiteX8" fmla="*/ 106737 w 331025"/>
                <a:gd name="connsiteY8" fmla="*/ 299759 h 756000"/>
                <a:gd name="connsiteX9" fmla="*/ 393 w 331025"/>
                <a:gd name="connsiteY9" fmla="*/ 241232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025" h="756000">
                  <a:moveTo>
                    <a:pt x="331025" y="209941"/>
                  </a:moveTo>
                  <a:lnTo>
                    <a:pt x="330632" y="349569"/>
                  </a:lnTo>
                  <a:lnTo>
                    <a:pt x="169867" y="441807"/>
                  </a:lnTo>
                  <a:lnTo>
                    <a:pt x="170488" y="639916"/>
                  </a:lnTo>
                  <a:lnTo>
                    <a:pt x="0" y="756000"/>
                  </a:lnTo>
                  <a:lnTo>
                    <a:pt x="499" y="410834"/>
                  </a:lnTo>
                  <a:close/>
                  <a:moveTo>
                    <a:pt x="75" y="0"/>
                  </a:moveTo>
                  <a:lnTo>
                    <a:pt x="300888" y="179438"/>
                  </a:lnTo>
                  <a:lnTo>
                    <a:pt x="106737" y="299759"/>
                  </a:lnTo>
                  <a:lnTo>
                    <a:pt x="393" y="241232"/>
                  </a:lnTo>
                  <a:close/>
                </a:path>
              </a:pathLst>
            </a:custGeom>
            <a:solidFill>
              <a:srgbClr val="575756"/>
            </a:solidFill>
            <a:ln w="453" cap="flat">
              <a:noFill/>
              <a:prstDash val="solid"/>
              <a:miter/>
            </a:ln>
          </p:spPr>
          <p:txBody>
            <a:bodyPr wrap="square" rtlCol="0" anchor="ctr">
              <a:noAutofit/>
            </a:bodyPr>
            <a:lstStyle/>
            <a:p>
              <a:endParaRPr lang="en-US" sz="1013" b="0" i="0">
                <a:latin typeface="Nexa Book" pitchFamily="2" charset="77"/>
              </a:endParaRPr>
            </a:p>
          </p:txBody>
        </p:sp>
      </p:grpSp>
      <p:sp>
        <p:nvSpPr>
          <p:cNvPr id="2" name="TextBox 1">
            <a:extLst>
              <a:ext uri="{FF2B5EF4-FFF2-40B4-BE49-F238E27FC236}">
                <a16:creationId xmlns:a16="http://schemas.microsoft.com/office/drawing/2014/main" id="{01E1C281-6ED7-2FEE-037A-B910BF2CEF83}"/>
              </a:ext>
            </a:extLst>
          </p:cNvPr>
          <p:cNvSpPr txBox="1"/>
          <p:nvPr/>
        </p:nvSpPr>
        <p:spPr>
          <a:xfrm>
            <a:off x="8049018"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4" name="TextBox 3">
            <a:extLst>
              <a:ext uri="{FF2B5EF4-FFF2-40B4-BE49-F238E27FC236}">
                <a16:creationId xmlns:a16="http://schemas.microsoft.com/office/drawing/2014/main" id="{9B7159DA-C688-78CE-BB01-1D48F7271019}"/>
              </a:ext>
            </a:extLst>
          </p:cNvPr>
          <p:cNvSpPr txBox="1"/>
          <p:nvPr/>
        </p:nvSpPr>
        <p:spPr>
          <a:xfrm>
            <a:off x="8594671" y="4970700"/>
            <a:ext cx="93289" cy="17890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r>
              <a:rPr lang="en-US" sz="600" b="0" i="0">
                <a:solidFill>
                  <a:schemeClr val="tx2"/>
                </a:solidFill>
                <a:latin typeface="Nexa Book" panose="00000400000000000000" pitchFamily="50" charset="0"/>
              </a:rPr>
              <a:t>|</a:t>
            </a:r>
          </a:p>
        </p:txBody>
      </p:sp>
      <p:sp>
        <p:nvSpPr>
          <p:cNvPr id="7" name="TextBox 6">
            <a:extLst>
              <a:ext uri="{FF2B5EF4-FFF2-40B4-BE49-F238E27FC236}">
                <a16:creationId xmlns:a16="http://schemas.microsoft.com/office/drawing/2014/main" id="{5B7E8C9D-13C9-4358-B3E5-91451D3B0CC2}"/>
              </a:ext>
            </a:extLst>
          </p:cNvPr>
          <p:cNvSpPr txBox="1"/>
          <p:nvPr/>
        </p:nvSpPr>
        <p:spPr>
          <a:xfrm>
            <a:off x="7176715" y="4984002"/>
            <a:ext cx="930201" cy="169277"/>
          </a:xfrm>
          <a:prstGeom prst="rect">
            <a:avLst/>
          </a:prstGeom>
          <a:noFill/>
        </p:spPr>
        <p:txBody>
          <a:bodyPr wrap="square" lIns="27000" rIns="27000" anchor="ctr">
            <a:spAutoFit/>
          </a:bodyPr>
          <a:lstStyle/>
          <a:p>
            <a:pPr algn="l"/>
            <a:r>
              <a:rPr lang="en-US" sz="500" b="0" i="0">
                <a:solidFill>
                  <a:schemeClr val="bg1">
                    <a:lumMod val="50000"/>
                  </a:schemeClr>
                </a:solidFill>
                <a:latin typeface="Nexa Book" panose="00000400000000000000" pitchFamily="50" charset="0"/>
              </a:rPr>
              <a:t>PRICING</a:t>
            </a:r>
            <a:r>
              <a:rPr lang="en-US" sz="500" b="0" i="0">
                <a:solidFill>
                  <a:schemeClr val="accent3"/>
                </a:solidFill>
                <a:latin typeface="+mj-lt"/>
              </a:rPr>
              <a:t>ONE</a:t>
            </a:r>
            <a:r>
              <a:rPr lang="en-US" sz="500" b="0" i="0">
                <a:solidFill>
                  <a:schemeClr val="bg1">
                    <a:lumMod val="50000"/>
                  </a:schemeClr>
                </a:solidFill>
                <a:latin typeface="Nexa Book" panose="00000400000000000000" pitchFamily="50" charset="0"/>
              </a:rPr>
              <a:t> </a:t>
            </a:r>
            <a:r>
              <a:rPr lang="en-US" sz="500" b="0" i="0">
                <a:solidFill>
                  <a:schemeClr val="bg1">
                    <a:lumMod val="50000"/>
                  </a:schemeClr>
                </a:solidFill>
                <a:latin typeface="Nexa Book" pitchFamily="2" charset="77"/>
              </a:rPr>
              <a:t>Confidential  </a:t>
            </a:r>
            <a:endParaRPr lang="en-US" sz="500" b="0" i="0">
              <a:solidFill>
                <a:schemeClr val="tx1">
                  <a:tint val="75000"/>
                </a:schemeClr>
              </a:solidFill>
              <a:latin typeface="Nexa Book" pitchFamily="2" charset="77"/>
            </a:endParaRPr>
          </a:p>
        </p:txBody>
      </p:sp>
      <p:sp>
        <p:nvSpPr>
          <p:cNvPr id="5" name="Slide Number Placeholder 4">
            <a:extLst>
              <a:ext uri="{FF2B5EF4-FFF2-40B4-BE49-F238E27FC236}">
                <a16:creationId xmlns:a16="http://schemas.microsoft.com/office/drawing/2014/main" id="{461CBFE0-2009-7F41-8ED1-C479C4E9B5ED}"/>
              </a:ext>
            </a:extLst>
          </p:cNvPr>
          <p:cNvSpPr>
            <a:spLocks noGrp="1"/>
          </p:cNvSpPr>
          <p:nvPr>
            <p:ph type="sldNum" sz="quarter" idx="4"/>
          </p:nvPr>
        </p:nvSpPr>
        <p:spPr>
          <a:xfrm>
            <a:off x="8640762" y="4972050"/>
            <a:ext cx="369965" cy="172800"/>
          </a:xfrm>
          <a:prstGeom prst="rect">
            <a:avLst/>
          </a:prstGeom>
        </p:spPr>
        <p:txBody>
          <a:bodyPr vert="horz" lIns="91440" tIns="45720" rIns="91440" bIns="45720" rtlCol="0" anchor="ctr"/>
          <a:lstStyle>
            <a:lvl1pPr algn="r">
              <a:defRPr sz="500" b="0" i="0">
                <a:solidFill>
                  <a:schemeClr val="tx2"/>
                </a:solidFill>
                <a:latin typeface="Nexa Book" panose="00000400000000000000" pitchFamily="50" charset="0"/>
              </a:defRPr>
            </a:lvl1pPr>
          </a:lstStyle>
          <a:p>
            <a:fld id="{7B1F438D-4EAF-094E-9162-80CF3EF77236}" type="slidenum">
              <a:rPr lang="en-US" smtClean="0"/>
              <a:pPr/>
              <a:t>‹#›</a:t>
            </a:fld>
            <a:endParaRPr lang="en-US"/>
          </a:p>
        </p:txBody>
      </p:sp>
      <p:sp>
        <p:nvSpPr>
          <p:cNvPr id="3" name="Footer Placeholder 4">
            <a:extLst>
              <a:ext uri="{FF2B5EF4-FFF2-40B4-BE49-F238E27FC236}">
                <a16:creationId xmlns:a16="http://schemas.microsoft.com/office/drawing/2014/main" id="{D67CBEFE-CC52-E74C-8EAF-B452F99D927B}"/>
              </a:ext>
            </a:extLst>
          </p:cNvPr>
          <p:cNvSpPr>
            <a:spLocks noGrp="1"/>
          </p:cNvSpPr>
          <p:nvPr>
            <p:ph type="ftr" sz="quarter" idx="3"/>
          </p:nvPr>
        </p:nvSpPr>
        <p:spPr>
          <a:xfrm>
            <a:off x="546969" y="4970700"/>
            <a:ext cx="6451742" cy="174151"/>
          </a:xfrm>
          <a:prstGeom prst="rect">
            <a:avLst/>
          </a:prstGeom>
        </p:spPr>
        <p:txBody>
          <a:bodyPr anchor="ctr"/>
          <a:lstStyle>
            <a:lvl1pPr algn="ctr">
              <a:defRPr sz="600" b="0" i="0">
                <a:solidFill>
                  <a:schemeClr val="bg2">
                    <a:lumMod val="50000"/>
                  </a:schemeClr>
                </a:solidFill>
                <a:latin typeface="+mn-lt"/>
              </a:defRPr>
            </a:lvl1pPr>
          </a:lstStyle>
          <a:p>
            <a:endParaRPr lang="en-US"/>
          </a:p>
        </p:txBody>
      </p:sp>
      <p:sp>
        <p:nvSpPr>
          <p:cNvPr id="39" name="Title Placeholder 38">
            <a:extLst>
              <a:ext uri="{FF2B5EF4-FFF2-40B4-BE49-F238E27FC236}">
                <a16:creationId xmlns:a16="http://schemas.microsoft.com/office/drawing/2014/main" id="{62502C3C-D856-2569-A701-52C028E78432}"/>
              </a:ext>
            </a:extLst>
          </p:cNvPr>
          <p:cNvSpPr>
            <a:spLocks noGrp="1"/>
          </p:cNvSpPr>
          <p:nvPr>
            <p:ph type="title"/>
          </p:nvPr>
        </p:nvSpPr>
        <p:spPr>
          <a:xfrm>
            <a:off x="504000" y="-1"/>
            <a:ext cx="8136000" cy="771525"/>
          </a:xfrm>
          <a:prstGeom prst="rect">
            <a:avLst/>
          </a:prstGeom>
        </p:spPr>
        <p:txBody>
          <a:bodyPr vert="horz" lIns="91440" tIns="45720" rIns="91440" bIns="45720" rtlCol="0" anchor="b">
            <a:normAutofit/>
          </a:bodyPr>
          <a:lstStyle/>
          <a:p>
            <a:pPr lvl="0"/>
            <a:r>
              <a:rPr lang="en-US"/>
              <a:t>Click to edit Master title style</a:t>
            </a:r>
            <a:endParaRPr lang="en-AE"/>
          </a:p>
        </p:txBody>
      </p:sp>
      <p:sp>
        <p:nvSpPr>
          <p:cNvPr id="40" name="Text Placeholder 39">
            <a:extLst>
              <a:ext uri="{FF2B5EF4-FFF2-40B4-BE49-F238E27FC236}">
                <a16:creationId xmlns:a16="http://schemas.microsoft.com/office/drawing/2014/main" id="{1EFF9AD8-7F69-80D9-8E27-0877BA8D2658}"/>
              </a:ext>
            </a:extLst>
          </p:cNvPr>
          <p:cNvSpPr>
            <a:spLocks noGrp="1"/>
          </p:cNvSpPr>
          <p:nvPr>
            <p:ph type="body" idx="1"/>
          </p:nvPr>
        </p:nvSpPr>
        <p:spPr>
          <a:xfrm>
            <a:off x="503238" y="1134000"/>
            <a:ext cx="8136762" cy="3600451"/>
          </a:xfrm>
          <a:prstGeom prst="rect">
            <a:avLst/>
          </a:prstGeom>
        </p:spPr>
        <p:txBody>
          <a:bodyPr vert="horz" lIns="91440" tIns="45720" rIns="91440" bIns="45720" rtlCol="0">
            <a:normAutofit/>
          </a:bodyPr>
          <a:lstStyle/>
          <a:p>
            <a:pPr lvl="0">
              <a:spcBef>
                <a:spcPts val="450"/>
              </a:spcBef>
            </a:pPr>
            <a:r>
              <a:rPr lang="en-US"/>
              <a:t>Click to edit Master text styles</a:t>
            </a:r>
          </a:p>
          <a:p>
            <a:pPr lvl="1">
              <a:spcBef>
                <a:spcPts val="450"/>
              </a:spcBef>
            </a:pPr>
            <a:r>
              <a:rPr lang="en-US"/>
              <a:t>Second level</a:t>
            </a:r>
          </a:p>
          <a:p>
            <a:pPr lvl="2">
              <a:spcBef>
                <a:spcPts val="450"/>
              </a:spcBef>
            </a:pPr>
            <a:r>
              <a:rPr lang="en-US"/>
              <a:t>Third level</a:t>
            </a:r>
          </a:p>
          <a:p>
            <a:pPr lvl="3">
              <a:spcBef>
                <a:spcPts val="450"/>
              </a:spcBef>
            </a:pPr>
            <a:r>
              <a:rPr lang="en-US"/>
              <a:t>Fourth level</a:t>
            </a:r>
          </a:p>
          <a:p>
            <a:pPr lvl="4">
              <a:spcBef>
                <a:spcPts val="450"/>
              </a:spcBef>
            </a:pPr>
            <a:r>
              <a:rPr lang="en-US"/>
              <a:t>Fifth level</a:t>
            </a:r>
            <a:endParaRPr lang="en-AE"/>
          </a:p>
        </p:txBody>
      </p:sp>
      <p:sp>
        <p:nvSpPr>
          <p:cNvPr id="9" name="Date Placeholder 7">
            <a:extLst>
              <a:ext uri="{FF2B5EF4-FFF2-40B4-BE49-F238E27FC236}">
                <a16:creationId xmlns:a16="http://schemas.microsoft.com/office/drawing/2014/main" id="{787F2399-B56C-ECB6-6EDC-68D5DAE6BB28}"/>
              </a:ext>
            </a:extLst>
          </p:cNvPr>
          <p:cNvSpPr>
            <a:spLocks noGrp="1"/>
          </p:cNvSpPr>
          <p:nvPr>
            <p:ph type="dt" sz="half" idx="2"/>
          </p:nvPr>
        </p:nvSpPr>
        <p:spPr>
          <a:xfrm>
            <a:off x="8107680" y="4972050"/>
            <a:ext cx="532319" cy="171450"/>
          </a:xfrm>
          <a:prstGeom prst="rect">
            <a:avLst/>
          </a:prstGeom>
        </p:spPr>
        <p:txBody>
          <a:bodyPr vert="horz" lIns="91440" tIns="45720" rIns="91440" bIns="45720" rtlCol="0" anchor="ctr"/>
          <a:lstStyle>
            <a:lvl1pPr algn="r">
              <a:defRPr sz="500" b="0" i="0">
                <a:solidFill>
                  <a:schemeClr val="bg2">
                    <a:lumMod val="50000"/>
                  </a:schemeClr>
                </a:solidFill>
                <a:latin typeface="Nexa Book" panose="00000400000000000000" pitchFamily="50" charset="0"/>
              </a:defRPr>
            </a:lvl1pPr>
          </a:lstStyle>
          <a:p>
            <a:fld id="{8ECCD11A-1697-44D1-8692-AEA971CE15AD}" type="datetime1">
              <a:rPr lang="en-US" smtClean="0"/>
              <a:t>9/14/2025</a:t>
            </a:fld>
            <a:endParaRPr lang="en-US" dirty="0"/>
          </a:p>
        </p:txBody>
      </p:sp>
    </p:spTree>
    <p:extLst>
      <p:ext uri="{BB962C8B-B14F-4D97-AF65-F5344CB8AC3E}">
        <p14:creationId xmlns:p14="http://schemas.microsoft.com/office/powerpoint/2010/main" val="2656213192"/>
      </p:ext>
    </p:extLst>
  </p:cSld>
  <p:clrMap bg1="lt1" tx1="dk1" bg2="lt2" tx2="dk2" accent1="accent1" accent2="accent2" accent3="accent3" accent4="accent4" accent5="accent5" accent6="accent6" hlink="hlink" folHlink="folHlink"/>
  <p:sldLayoutIdLst>
    <p:sldLayoutId id="2147483955"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4014" r:id="rId23"/>
    <p:sldLayoutId id="2147484015" r:id="rId24"/>
  </p:sldLayoutIdLst>
  <p:hf hdr="0"/>
  <p:txStyles>
    <p:titleStyle>
      <a:lvl1pPr algn="l" defTabSz="685783" rtl="0" eaLnBrk="1" latinLnBrk="0" hangingPunct="1">
        <a:lnSpc>
          <a:spcPct val="90000"/>
        </a:lnSpc>
        <a:spcBef>
          <a:spcPct val="0"/>
        </a:spcBef>
        <a:buNone/>
        <a:defRPr lang="en-AE" sz="1600" b="0" i="0" kern="1200" smtClean="0">
          <a:solidFill>
            <a:srgbClr val="006D6F"/>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lang="en-US" sz="1000" b="0" i="0" kern="1200" dirty="0" smtClean="0">
          <a:solidFill>
            <a:srgbClr val="575656"/>
          </a:solidFill>
          <a:latin typeface="Nexa Book" panose="00000400000000000000" pitchFamily="50" charset="0"/>
          <a:ea typeface="Open Sans" panose="020B0606030504020204" pitchFamily="34" charset="0"/>
          <a:cs typeface="Open Sans" panose="020B0606030504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lang="en-US" sz="10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2pPr>
      <a:lvl3pPr marL="857228"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3pPr>
      <a:lvl4pPr marL="1200120" indent="-171446" algn="l" defTabSz="685783" rtl="0" eaLnBrk="1" latinLnBrk="0" hangingPunct="1">
        <a:lnSpc>
          <a:spcPct val="90000"/>
        </a:lnSpc>
        <a:spcBef>
          <a:spcPts val="375"/>
        </a:spcBef>
        <a:buFont typeface="Arial" panose="020B0604020202020204" pitchFamily="34" charset="0"/>
        <a:buChar char="•"/>
        <a:defRPr lang="en-US"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lang="en-AE" sz="800" b="0" i="0" kern="1200" dirty="0" smtClean="0">
          <a:solidFill>
            <a:srgbClr val="575656"/>
          </a:solidFill>
          <a:latin typeface="Nexa Book Italic" panose="00000400000000000000" pitchFamily="50" charset="0"/>
          <a:ea typeface="Open Sans" panose="020B0606030504020204" pitchFamily="34" charset="0"/>
          <a:cs typeface="Open Sans" panose="020B06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B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orient="horz" pos="1620">
          <p15:clr>
            <a:srgbClr val="F26B43"/>
          </p15:clr>
        </p15:guide>
        <p15:guide id="13" pos="5443">
          <p15:clr>
            <a:srgbClr val="F26B43"/>
          </p15:clr>
        </p15:guide>
        <p15:guide id="14" pos="317">
          <p15:clr>
            <a:srgbClr val="F26B43"/>
          </p15:clr>
        </p15:guide>
        <p15:guide id="15" orient="horz" pos="2981">
          <p15:clr>
            <a:srgbClr val="F26B43"/>
          </p15:clr>
        </p15:guide>
        <p15:guide id="16" orient="horz" pos="713">
          <p15:clr>
            <a:srgbClr val="F26B43"/>
          </p15:clr>
        </p15:guide>
        <p15:guide id="17" orient="horz" pos="486">
          <p15:clr>
            <a:srgbClr val="F26B43"/>
          </p15:clr>
        </p15:guide>
        <p15:guide id="18" pos="4150">
          <p15:clr>
            <a:srgbClr val="F26B43"/>
          </p15:clr>
        </p15:guide>
        <p15:guide id="19" pos="1610">
          <p15:clr>
            <a:srgbClr val="F26B43"/>
          </p15:clr>
        </p15:guide>
        <p15:guide id="20" orient="horz" pos="18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7.xml"/><Relationship Id="rId3" Type="http://schemas.openxmlformats.org/officeDocument/2006/relationships/notesSlide" Target="../notesSlides/notesSlide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xml"/><Relationship Id="rId7" Type="http://schemas.openxmlformats.org/officeDocument/2006/relationships/chart" Target="../charts/chart2.xml"/><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2" Type="http://schemas.openxmlformats.org/officeDocument/2006/relationships/chart" Target="../charts/chart7.xml"/><Relationship Id="rId13" Type="http://schemas.openxmlformats.org/officeDocument/2006/relationships/chart" Target="../charts/chart8.xml"/><Relationship Id="rId14" Type="http://schemas.openxmlformats.org/officeDocument/2006/relationships/chart" Target="../charts/chart9.xml"/><Relationship Id="rId15" Type="http://schemas.openxmlformats.org/officeDocument/2006/relationships/chart" Target="../charts/chart10.xml"/><Relationship Id="rId16" Type="http://schemas.openxmlformats.org/officeDocument/2006/relationships/chart" Target="../charts/chart11.xml"/></Relationships>
</file>

<file path=ppt/slides/_rels/slide10.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7.xml"/><Relationship Id="rId3" Type="http://schemas.openxmlformats.org/officeDocument/2006/relationships/notesSlide" Target="../notesSlides/notesSlide1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00.xml"/><Relationship Id="rId7" Type="http://schemas.openxmlformats.org/officeDocument/2006/relationships/chart" Target="../charts/chart101.xml"/><Relationship Id="rId8" Type="http://schemas.openxmlformats.org/officeDocument/2006/relationships/chart" Target="../charts/chart102.xml"/><Relationship Id="rId9" Type="http://schemas.openxmlformats.org/officeDocument/2006/relationships/chart" Target="../charts/chart103.xml"/><Relationship Id="rId10" Type="http://schemas.openxmlformats.org/officeDocument/2006/relationships/chart" Target="../charts/chart104.xml"/><Relationship Id="rId11" Type="http://schemas.openxmlformats.org/officeDocument/2006/relationships/chart" Target="../charts/chart105.xml"/><Relationship Id="rId12" Type="http://schemas.openxmlformats.org/officeDocument/2006/relationships/chart" Target="../charts/chart106.xml"/><Relationship Id="rId13" Type="http://schemas.openxmlformats.org/officeDocument/2006/relationships/chart" Target="../charts/chart107.xml"/><Relationship Id="rId14" Type="http://schemas.openxmlformats.org/officeDocument/2006/relationships/chart" Target="../charts/chart108.xml"/><Relationship Id="rId15" Type="http://schemas.openxmlformats.org/officeDocument/2006/relationships/chart" Target="../charts/chart109.xml"/><Relationship Id="rId16" Type="http://schemas.openxmlformats.org/officeDocument/2006/relationships/chart" Target="../charts/chart110.xml"/></Relationships>
</file>

<file path=ppt/slides/_rels/slide11.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7.xml"/><Relationship Id="rId3" Type="http://schemas.openxmlformats.org/officeDocument/2006/relationships/notesSlide" Target="../notesSlides/notesSlide1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11.xml"/><Relationship Id="rId7" Type="http://schemas.openxmlformats.org/officeDocument/2006/relationships/chart" Target="../charts/chart112.xml"/><Relationship Id="rId8" Type="http://schemas.openxmlformats.org/officeDocument/2006/relationships/chart" Target="../charts/chart113.xml"/><Relationship Id="rId9" Type="http://schemas.openxmlformats.org/officeDocument/2006/relationships/chart" Target="../charts/chart114.xml"/><Relationship Id="rId10" Type="http://schemas.openxmlformats.org/officeDocument/2006/relationships/chart" Target="../charts/chart115.xml"/><Relationship Id="rId11" Type="http://schemas.openxmlformats.org/officeDocument/2006/relationships/chart" Target="../charts/chart116.xml"/><Relationship Id="rId12" Type="http://schemas.openxmlformats.org/officeDocument/2006/relationships/chart" Target="../charts/chart117.xml"/><Relationship Id="rId13" Type="http://schemas.openxmlformats.org/officeDocument/2006/relationships/chart" Target="../charts/chart118.xml"/><Relationship Id="rId14" Type="http://schemas.openxmlformats.org/officeDocument/2006/relationships/chart" Target="../charts/chart119.xml"/><Relationship Id="rId15" Type="http://schemas.openxmlformats.org/officeDocument/2006/relationships/chart" Target="../charts/chart120.xml"/><Relationship Id="rId16" Type="http://schemas.openxmlformats.org/officeDocument/2006/relationships/chart" Target="../charts/chart121.xml"/></Relationships>
</file>

<file path=ppt/slides/_rels/slide12.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7.xml"/><Relationship Id="rId3" Type="http://schemas.openxmlformats.org/officeDocument/2006/relationships/notesSlide" Target="../notesSlides/notesSlide1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2.xml"/><Relationship Id="rId7" Type="http://schemas.openxmlformats.org/officeDocument/2006/relationships/chart" Target="../charts/chart123.xml"/><Relationship Id="rId8" Type="http://schemas.openxmlformats.org/officeDocument/2006/relationships/chart" Target="../charts/chart124.xml"/><Relationship Id="rId9" Type="http://schemas.openxmlformats.org/officeDocument/2006/relationships/chart" Target="../charts/chart125.xml"/><Relationship Id="rId10" Type="http://schemas.openxmlformats.org/officeDocument/2006/relationships/chart" Target="../charts/chart126.xml"/><Relationship Id="rId11" Type="http://schemas.openxmlformats.org/officeDocument/2006/relationships/chart" Target="../charts/chart127.xml"/><Relationship Id="rId12" Type="http://schemas.openxmlformats.org/officeDocument/2006/relationships/chart" Target="../charts/chart128.xml"/><Relationship Id="rId13" Type="http://schemas.openxmlformats.org/officeDocument/2006/relationships/chart" Target="../charts/chart129.xml"/><Relationship Id="rId14" Type="http://schemas.openxmlformats.org/officeDocument/2006/relationships/chart" Target="../charts/chart130.xml"/><Relationship Id="rId15" Type="http://schemas.openxmlformats.org/officeDocument/2006/relationships/chart" Target="../charts/chart131.xml"/><Relationship Id="rId16" Type="http://schemas.openxmlformats.org/officeDocument/2006/relationships/chart" Target="../charts/chart132.xml"/></Relationships>
</file>

<file path=ppt/slides/_rels/slide1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7.xml"/><Relationship Id="rId3" Type="http://schemas.openxmlformats.org/officeDocument/2006/relationships/notesSlide" Target="../notesSlides/notesSlide1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33.xml"/><Relationship Id="rId7" Type="http://schemas.openxmlformats.org/officeDocument/2006/relationships/chart" Target="../charts/chart134.xml"/><Relationship Id="rId8" Type="http://schemas.openxmlformats.org/officeDocument/2006/relationships/chart" Target="../charts/chart135.xml"/><Relationship Id="rId9" Type="http://schemas.openxmlformats.org/officeDocument/2006/relationships/chart" Target="../charts/chart136.xml"/><Relationship Id="rId10" Type="http://schemas.openxmlformats.org/officeDocument/2006/relationships/chart" Target="../charts/chart137.xml"/><Relationship Id="rId11" Type="http://schemas.openxmlformats.org/officeDocument/2006/relationships/chart" Target="../charts/chart138.xml"/><Relationship Id="rId12" Type="http://schemas.openxmlformats.org/officeDocument/2006/relationships/chart" Target="../charts/chart139.xml"/><Relationship Id="rId13" Type="http://schemas.openxmlformats.org/officeDocument/2006/relationships/chart" Target="../charts/chart140.xml"/><Relationship Id="rId14" Type="http://schemas.openxmlformats.org/officeDocument/2006/relationships/chart" Target="../charts/chart141.xml"/><Relationship Id="rId15" Type="http://schemas.openxmlformats.org/officeDocument/2006/relationships/chart" Target="../charts/chart142.xml"/><Relationship Id="rId16" Type="http://schemas.openxmlformats.org/officeDocument/2006/relationships/chart" Target="../charts/chart143.xml"/></Relationships>
</file>

<file path=ppt/slides/_rels/slide1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7.xml"/><Relationship Id="rId3" Type="http://schemas.openxmlformats.org/officeDocument/2006/relationships/notesSlide" Target="../notesSlides/notesSlide1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44.xml"/><Relationship Id="rId7" Type="http://schemas.openxmlformats.org/officeDocument/2006/relationships/chart" Target="../charts/chart145.xml"/><Relationship Id="rId8" Type="http://schemas.openxmlformats.org/officeDocument/2006/relationships/chart" Target="../charts/chart146.xml"/><Relationship Id="rId9" Type="http://schemas.openxmlformats.org/officeDocument/2006/relationships/chart" Target="../charts/chart147.xml"/><Relationship Id="rId10" Type="http://schemas.openxmlformats.org/officeDocument/2006/relationships/chart" Target="../charts/chart148.xml"/><Relationship Id="rId11" Type="http://schemas.openxmlformats.org/officeDocument/2006/relationships/chart" Target="../charts/chart149.xml"/><Relationship Id="rId12" Type="http://schemas.openxmlformats.org/officeDocument/2006/relationships/chart" Target="../charts/chart150.xml"/><Relationship Id="rId13" Type="http://schemas.openxmlformats.org/officeDocument/2006/relationships/chart" Target="../charts/chart151.xml"/><Relationship Id="rId14" Type="http://schemas.openxmlformats.org/officeDocument/2006/relationships/chart" Target="../charts/chart152.xml"/><Relationship Id="rId15" Type="http://schemas.openxmlformats.org/officeDocument/2006/relationships/chart" Target="../charts/chart153.xml"/><Relationship Id="rId16" Type="http://schemas.openxmlformats.org/officeDocument/2006/relationships/chart" Target="../charts/chart154.xml"/></Relationships>
</file>

<file path=ppt/slides/_rels/slide15.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7.xml"/><Relationship Id="rId3" Type="http://schemas.openxmlformats.org/officeDocument/2006/relationships/notesSlide" Target="../notesSlides/notesSlide1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55.xml"/><Relationship Id="rId7" Type="http://schemas.openxmlformats.org/officeDocument/2006/relationships/chart" Target="../charts/chart156.xml"/><Relationship Id="rId8" Type="http://schemas.openxmlformats.org/officeDocument/2006/relationships/chart" Target="../charts/chart157.xml"/><Relationship Id="rId9" Type="http://schemas.openxmlformats.org/officeDocument/2006/relationships/chart" Target="../charts/chart158.xml"/><Relationship Id="rId10" Type="http://schemas.openxmlformats.org/officeDocument/2006/relationships/chart" Target="../charts/chart159.xml"/><Relationship Id="rId11" Type="http://schemas.openxmlformats.org/officeDocument/2006/relationships/chart" Target="../charts/chart160.xml"/><Relationship Id="rId12" Type="http://schemas.openxmlformats.org/officeDocument/2006/relationships/chart" Target="../charts/chart161.xml"/><Relationship Id="rId13" Type="http://schemas.openxmlformats.org/officeDocument/2006/relationships/chart" Target="../charts/chart162.xml"/><Relationship Id="rId14" Type="http://schemas.openxmlformats.org/officeDocument/2006/relationships/chart" Target="../charts/chart163.xml"/><Relationship Id="rId15" Type="http://schemas.openxmlformats.org/officeDocument/2006/relationships/chart" Target="../charts/chart164.xml"/><Relationship Id="rId16" Type="http://schemas.openxmlformats.org/officeDocument/2006/relationships/chart" Target="../charts/chart165.xml"/></Relationships>
</file>

<file path=ppt/slides/_rels/slide16.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7.xml"/><Relationship Id="rId3" Type="http://schemas.openxmlformats.org/officeDocument/2006/relationships/notesSlide" Target="../notesSlides/notesSlide1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66.xml"/><Relationship Id="rId7" Type="http://schemas.openxmlformats.org/officeDocument/2006/relationships/chart" Target="../charts/chart167.xml"/><Relationship Id="rId8" Type="http://schemas.openxmlformats.org/officeDocument/2006/relationships/chart" Target="../charts/chart168.xml"/><Relationship Id="rId9" Type="http://schemas.openxmlformats.org/officeDocument/2006/relationships/chart" Target="../charts/chart169.xml"/><Relationship Id="rId10" Type="http://schemas.openxmlformats.org/officeDocument/2006/relationships/chart" Target="../charts/chart170.xml"/><Relationship Id="rId11" Type="http://schemas.openxmlformats.org/officeDocument/2006/relationships/chart" Target="../charts/chart171.xml"/><Relationship Id="rId12" Type="http://schemas.openxmlformats.org/officeDocument/2006/relationships/chart" Target="../charts/chart172.xml"/><Relationship Id="rId13" Type="http://schemas.openxmlformats.org/officeDocument/2006/relationships/chart" Target="../charts/chart173.xml"/><Relationship Id="rId14" Type="http://schemas.openxmlformats.org/officeDocument/2006/relationships/chart" Target="../charts/chart174.xml"/><Relationship Id="rId15" Type="http://schemas.openxmlformats.org/officeDocument/2006/relationships/chart" Target="../charts/chart175.xml"/><Relationship Id="rId16" Type="http://schemas.openxmlformats.org/officeDocument/2006/relationships/chart" Target="../charts/chart176.xml"/></Relationships>
</file>

<file path=ppt/slides/_rels/slide1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7.xml"/><Relationship Id="rId3" Type="http://schemas.openxmlformats.org/officeDocument/2006/relationships/notesSlide" Target="../notesSlides/notesSlide1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77.xml"/><Relationship Id="rId7" Type="http://schemas.openxmlformats.org/officeDocument/2006/relationships/chart" Target="../charts/chart178.xml"/><Relationship Id="rId8" Type="http://schemas.openxmlformats.org/officeDocument/2006/relationships/chart" Target="../charts/chart179.xml"/><Relationship Id="rId9" Type="http://schemas.openxmlformats.org/officeDocument/2006/relationships/chart" Target="../charts/chart180.xml"/><Relationship Id="rId10" Type="http://schemas.openxmlformats.org/officeDocument/2006/relationships/chart" Target="../charts/chart181.xml"/><Relationship Id="rId11" Type="http://schemas.openxmlformats.org/officeDocument/2006/relationships/chart" Target="../charts/chart182.xml"/><Relationship Id="rId12" Type="http://schemas.openxmlformats.org/officeDocument/2006/relationships/chart" Target="../charts/chart183.xml"/><Relationship Id="rId13" Type="http://schemas.openxmlformats.org/officeDocument/2006/relationships/chart" Target="../charts/chart184.xml"/><Relationship Id="rId14" Type="http://schemas.openxmlformats.org/officeDocument/2006/relationships/chart" Target="../charts/chart185.xml"/><Relationship Id="rId15" Type="http://schemas.openxmlformats.org/officeDocument/2006/relationships/chart" Target="../charts/chart186.xml"/><Relationship Id="rId16" Type="http://schemas.openxmlformats.org/officeDocument/2006/relationships/chart" Target="../charts/chart187.xml"/></Relationships>
</file>

<file path=ppt/slides/_rels/slide18.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7.xml"/><Relationship Id="rId3" Type="http://schemas.openxmlformats.org/officeDocument/2006/relationships/notesSlide" Target="../notesSlides/notesSlide1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88.xml"/><Relationship Id="rId7" Type="http://schemas.openxmlformats.org/officeDocument/2006/relationships/chart" Target="../charts/chart189.xml"/><Relationship Id="rId8" Type="http://schemas.openxmlformats.org/officeDocument/2006/relationships/chart" Target="../charts/chart190.xml"/><Relationship Id="rId9" Type="http://schemas.openxmlformats.org/officeDocument/2006/relationships/chart" Target="../charts/chart191.xml"/><Relationship Id="rId10" Type="http://schemas.openxmlformats.org/officeDocument/2006/relationships/chart" Target="../charts/chart192.xml"/><Relationship Id="rId11" Type="http://schemas.openxmlformats.org/officeDocument/2006/relationships/chart" Target="../charts/chart193.xml"/><Relationship Id="rId12" Type="http://schemas.openxmlformats.org/officeDocument/2006/relationships/chart" Target="../charts/chart194.xml"/><Relationship Id="rId13" Type="http://schemas.openxmlformats.org/officeDocument/2006/relationships/chart" Target="../charts/chart195.xml"/><Relationship Id="rId14" Type="http://schemas.openxmlformats.org/officeDocument/2006/relationships/chart" Target="../charts/chart196.xml"/><Relationship Id="rId15" Type="http://schemas.openxmlformats.org/officeDocument/2006/relationships/chart" Target="../charts/chart197.xml"/><Relationship Id="rId16" Type="http://schemas.openxmlformats.org/officeDocument/2006/relationships/chart" Target="../charts/chart198.xml"/></Relationships>
</file>

<file path=ppt/slides/_rels/slide19.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7.xml"/><Relationship Id="rId3" Type="http://schemas.openxmlformats.org/officeDocument/2006/relationships/notesSlide" Target="../notesSlides/notesSlide1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99.xml"/><Relationship Id="rId7" Type="http://schemas.openxmlformats.org/officeDocument/2006/relationships/chart" Target="../charts/chart200.xml"/><Relationship Id="rId8" Type="http://schemas.openxmlformats.org/officeDocument/2006/relationships/chart" Target="../charts/chart201.xml"/><Relationship Id="rId9" Type="http://schemas.openxmlformats.org/officeDocument/2006/relationships/chart" Target="../charts/chart202.xml"/><Relationship Id="rId10" Type="http://schemas.openxmlformats.org/officeDocument/2006/relationships/chart" Target="../charts/chart203.xml"/><Relationship Id="rId11" Type="http://schemas.openxmlformats.org/officeDocument/2006/relationships/chart" Target="../charts/chart204.xml"/><Relationship Id="rId12" Type="http://schemas.openxmlformats.org/officeDocument/2006/relationships/chart" Target="../charts/chart205.xml"/><Relationship Id="rId13" Type="http://schemas.openxmlformats.org/officeDocument/2006/relationships/chart" Target="../charts/chart206.xml"/><Relationship Id="rId14" Type="http://schemas.openxmlformats.org/officeDocument/2006/relationships/chart" Target="../charts/chart207.xml"/><Relationship Id="rId15" Type="http://schemas.openxmlformats.org/officeDocument/2006/relationships/chart" Target="../charts/chart208.xml"/><Relationship Id="rId16" Type="http://schemas.openxmlformats.org/officeDocument/2006/relationships/chart" Target="../charts/chart209.xml"/></Relationships>
</file>

<file path=ppt/slides/_rels/slide2.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7.xml"/><Relationship Id="rId3" Type="http://schemas.openxmlformats.org/officeDocument/2006/relationships/notesSlide" Target="../notesSlides/notesSlide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12.xml"/><Relationship Id="rId7" Type="http://schemas.openxmlformats.org/officeDocument/2006/relationships/chart" Target="../charts/chart13.xml"/><Relationship Id="rId8" Type="http://schemas.openxmlformats.org/officeDocument/2006/relationships/chart" Target="../charts/chart14.xml"/><Relationship Id="rId9" Type="http://schemas.openxmlformats.org/officeDocument/2006/relationships/chart" Target="../charts/chart15.xml"/><Relationship Id="rId10" Type="http://schemas.openxmlformats.org/officeDocument/2006/relationships/chart" Target="../charts/chart16.xml"/><Relationship Id="rId11" Type="http://schemas.openxmlformats.org/officeDocument/2006/relationships/chart" Target="../charts/chart17.xml"/><Relationship Id="rId12" Type="http://schemas.openxmlformats.org/officeDocument/2006/relationships/chart" Target="../charts/chart18.xml"/><Relationship Id="rId13" Type="http://schemas.openxmlformats.org/officeDocument/2006/relationships/chart" Target="../charts/chart19.xml"/><Relationship Id="rId14" Type="http://schemas.openxmlformats.org/officeDocument/2006/relationships/chart" Target="../charts/chart20.xml"/><Relationship Id="rId15" Type="http://schemas.openxmlformats.org/officeDocument/2006/relationships/chart" Target="../charts/chart21.xml"/><Relationship Id="rId16" Type="http://schemas.openxmlformats.org/officeDocument/2006/relationships/chart" Target="../charts/chart22.xml"/></Relationships>
</file>

<file path=ppt/slides/_rels/slide20.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7.xml"/><Relationship Id="rId3" Type="http://schemas.openxmlformats.org/officeDocument/2006/relationships/notesSlide" Target="../notesSlides/notesSlide20.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10.xml"/><Relationship Id="rId7" Type="http://schemas.openxmlformats.org/officeDocument/2006/relationships/chart" Target="../charts/chart211.xml"/><Relationship Id="rId8" Type="http://schemas.openxmlformats.org/officeDocument/2006/relationships/chart" Target="../charts/chart212.xml"/><Relationship Id="rId9" Type="http://schemas.openxmlformats.org/officeDocument/2006/relationships/chart" Target="../charts/chart213.xml"/><Relationship Id="rId10" Type="http://schemas.openxmlformats.org/officeDocument/2006/relationships/chart" Target="../charts/chart214.xml"/><Relationship Id="rId11" Type="http://schemas.openxmlformats.org/officeDocument/2006/relationships/chart" Target="../charts/chart215.xml"/><Relationship Id="rId12" Type="http://schemas.openxmlformats.org/officeDocument/2006/relationships/chart" Target="../charts/chart216.xml"/><Relationship Id="rId13" Type="http://schemas.openxmlformats.org/officeDocument/2006/relationships/chart" Target="../charts/chart217.xml"/><Relationship Id="rId14" Type="http://schemas.openxmlformats.org/officeDocument/2006/relationships/chart" Target="../charts/chart218.xml"/><Relationship Id="rId15" Type="http://schemas.openxmlformats.org/officeDocument/2006/relationships/chart" Target="../charts/chart219.xml"/><Relationship Id="rId16" Type="http://schemas.openxmlformats.org/officeDocument/2006/relationships/chart" Target="../charts/chart220.xml"/></Relationships>
</file>

<file path=ppt/slides/_rels/slide21.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7.xml"/><Relationship Id="rId3" Type="http://schemas.openxmlformats.org/officeDocument/2006/relationships/notesSlide" Target="../notesSlides/notesSlide21.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21.xml"/><Relationship Id="rId7" Type="http://schemas.openxmlformats.org/officeDocument/2006/relationships/chart" Target="../charts/chart222.xml"/><Relationship Id="rId8" Type="http://schemas.openxmlformats.org/officeDocument/2006/relationships/chart" Target="../charts/chart223.xml"/><Relationship Id="rId9" Type="http://schemas.openxmlformats.org/officeDocument/2006/relationships/chart" Target="../charts/chart224.xml"/><Relationship Id="rId10" Type="http://schemas.openxmlformats.org/officeDocument/2006/relationships/chart" Target="../charts/chart225.xml"/><Relationship Id="rId11" Type="http://schemas.openxmlformats.org/officeDocument/2006/relationships/chart" Target="../charts/chart226.xml"/><Relationship Id="rId12" Type="http://schemas.openxmlformats.org/officeDocument/2006/relationships/chart" Target="../charts/chart227.xml"/><Relationship Id="rId13" Type="http://schemas.openxmlformats.org/officeDocument/2006/relationships/chart" Target="../charts/chart228.xml"/><Relationship Id="rId14" Type="http://schemas.openxmlformats.org/officeDocument/2006/relationships/chart" Target="../charts/chart229.xml"/><Relationship Id="rId15" Type="http://schemas.openxmlformats.org/officeDocument/2006/relationships/chart" Target="../charts/chart230.xml"/><Relationship Id="rId16" Type="http://schemas.openxmlformats.org/officeDocument/2006/relationships/chart" Target="../charts/chart231.xml"/></Relationships>
</file>

<file path=ppt/slides/_rels/slide2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7.xml"/><Relationship Id="rId3" Type="http://schemas.openxmlformats.org/officeDocument/2006/relationships/notesSlide" Target="../notesSlides/notesSlide22.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2.xml"/><Relationship Id="rId7" Type="http://schemas.openxmlformats.org/officeDocument/2006/relationships/chart" Target="../charts/chart233.xml"/><Relationship Id="rId8" Type="http://schemas.openxmlformats.org/officeDocument/2006/relationships/chart" Target="../charts/chart234.xml"/><Relationship Id="rId9" Type="http://schemas.openxmlformats.org/officeDocument/2006/relationships/chart" Target="../charts/chart235.xml"/><Relationship Id="rId10" Type="http://schemas.openxmlformats.org/officeDocument/2006/relationships/chart" Target="../charts/chart236.xml"/><Relationship Id="rId11" Type="http://schemas.openxmlformats.org/officeDocument/2006/relationships/chart" Target="../charts/chart237.xml"/><Relationship Id="rId12" Type="http://schemas.openxmlformats.org/officeDocument/2006/relationships/chart" Target="../charts/chart238.xml"/><Relationship Id="rId13" Type="http://schemas.openxmlformats.org/officeDocument/2006/relationships/chart" Target="../charts/chart239.xml"/><Relationship Id="rId14" Type="http://schemas.openxmlformats.org/officeDocument/2006/relationships/chart" Target="../charts/chart240.xml"/><Relationship Id="rId15" Type="http://schemas.openxmlformats.org/officeDocument/2006/relationships/chart" Target="../charts/chart241.xml"/><Relationship Id="rId16" Type="http://schemas.openxmlformats.org/officeDocument/2006/relationships/chart" Target="../charts/chart242.xml"/></Relationships>
</file>

<file path=ppt/slides/_rels/slide23.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7.xml"/><Relationship Id="rId3" Type="http://schemas.openxmlformats.org/officeDocument/2006/relationships/notesSlide" Target="../notesSlides/notesSlide2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43.xml"/><Relationship Id="rId7" Type="http://schemas.openxmlformats.org/officeDocument/2006/relationships/chart" Target="../charts/chart244.xml"/><Relationship Id="rId8" Type="http://schemas.openxmlformats.org/officeDocument/2006/relationships/chart" Target="../charts/chart245.xml"/><Relationship Id="rId9" Type="http://schemas.openxmlformats.org/officeDocument/2006/relationships/chart" Target="../charts/chart246.xml"/><Relationship Id="rId10" Type="http://schemas.openxmlformats.org/officeDocument/2006/relationships/chart" Target="../charts/chart247.xml"/><Relationship Id="rId11" Type="http://schemas.openxmlformats.org/officeDocument/2006/relationships/chart" Target="../charts/chart248.xml"/><Relationship Id="rId12" Type="http://schemas.openxmlformats.org/officeDocument/2006/relationships/chart" Target="../charts/chart249.xml"/><Relationship Id="rId13" Type="http://schemas.openxmlformats.org/officeDocument/2006/relationships/chart" Target="../charts/chart250.xml"/><Relationship Id="rId14" Type="http://schemas.openxmlformats.org/officeDocument/2006/relationships/chart" Target="../charts/chart251.xml"/><Relationship Id="rId15" Type="http://schemas.openxmlformats.org/officeDocument/2006/relationships/chart" Target="../charts/chart252.xml"/><Relationship Id="rId16" Type="http://schemas.openxmlformats.org/officeDocument/2006/relationships/chart" Target="../charts/chart253.xml"/></Relationships>
</file>

<file path=ppt/slides/_rels/slide24.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7.xml"/><Relationship Id="rId3" Type="http://schemas.openxmlformats.org/officeDocument/2006/relationships/notesSlide" Target="../notesSlides/notesSlide2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54.xml"/><Relationship Id="rId7" Type="http://schemas.openxmlformats.org/officeDocument/2006/relationships/chart" Target="../charts/chart255.xml"/><Relationship Id="rId8" Type="http://schemas.openxmlformats.org/officeDocument/2006/relationships/chart" Target="../charts/chart256.xml"/><Relationship Id="rId9" Type="http://schemas.openxmlformats.org/officeDocument/2006/relationships/chart" Target="../charts/chart257.xml"/><Relationship Id="rId10" Type="http://schemas.openxmlformats.org/officeDocument/2006/relationships/chart" Target="../charts/chart258.xml"/><Relationship Id="rId11" Type="http://schemas.openxmlformats.org/officeDocument/2006/relationships/chart" Target="../charts/chart259.xml"/><Relationship Id="rId12" Type="http://schemas.openxmlformats.org/officeDocument/2006/relationships/chart" Target="../charts/chart260.xml"/><Relationship Id="rId13" Type="http://schemas.openxmlformats.org/officeDocument/2006/relationships/chart" Target="../charts/chart261.xml"/><Relationship Id="rId14" Type="http://schemas.openxmlformats.org/officeDocument/2006/relationships/chart" Target="../charts/chart262.xml"/><Relationship Id="rId15" Type="http://schemas.openxmlformats.org/officeDocument/2006/relationships/chart" Target="../charts/chart263.xml"/><Relationship Id="rId16" Type="http://schemas.openxmlformats.org/officeDocument/2006/relationships/chart" Target="../charts/chart264.xml"/></Relationships>
</file>

<file path=ppt/slides/_rels/slide25.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7.xml"/><Relationship Id="rId3" Type="http://schemas.openxmlformats.org/officeDocument/2006/relationships/notesSlide" Target="../notesSlides/notesSlide2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65.xml"/><Relationship Id="rId7" Type="http://schemas.openxmlformats.org/officeDocument/2006/relationships/chart" Target="../charts/chart266.xml"/><Relationship Id="rId8" Type="http://schemas.openxmlformats.org/officeDocument/2006/relationships/chart" Target="../charts/chart267.xml"/><Relationship Id="rId9" Type="http://schemas.openxmlformats.org/officeDocument/2006/relationships/chart" Target="../charts/chart268.xml"/><Relationship Id="rId10" Type="http://schemas.openxmlformats.org/officeDocument/2006/relationships/chart" Target="../charts/chart269.xml"/><Relationship Id="rId11" Type="http://schemas.openxmlformats.org/officeDocument/2006/relationships/chart" Target="../charts/chart270.xml"/><Relationship Id="rId12" Type="http://schemas.openxmlformats.org/officeDocument/2006/relationships/chart" Target="../charts/chart271.xml"/><Relationship Id="rId13" Type="http://schemas.openxmlformats.org/officeDocument/2006/relationships/chart" Target="../charts/chart272.xml"/><Relationship Id="rId14" Type="http://schemas.openxmlformats.org/officeDocument/2006/relationships/chart" Target="../charts/chart273.xml"/><Relationship Id="rId15" Type="http://schemas.openxmlformats.org/officeDocument/2006/relationships/chart" Target="../charts/chart274.xml"/><Relationship Id="rId16" Type="http://schemas.openxmlformats.org/officeDocument/2006/relationships/chart" Target="../charts/chart275.xml"/></Relationships>
</file>

<file path=ppt/slides/_rels/slide26.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7.xml"/><Relationship Id="rId3" Type="http://schemas.openxmlformats.org/officeDocument/2006/relationships/notesSlide" Target="../notesSlides/notesSlide2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76.xml"/><Relationship Id="rId7" Type="http://schemas.openxmlformats.org/officeDocument/2006/relationships/chart" Target="../charts/chart277.xml"/><Relationship Id="rId8" Type="http://schemas.openxmlformats.org/officeDocument/2006/relationships/chart" Target="../charts/chart278.xml"/><Relationship Id="rId9" Type="http://schemas.openxmlformats.org/officeDocument/2006/relationships/chart" Target="../charts/chart279.xml"/><Relationship Id="rId10" Type="http://schemas.openxmlformats.org/officeDocument/2006/relationships/chart" Target="../charts/chart280.xml"/><Relationship Id="rId11" Type="http://schemas.openxmlformats.org/officeDocument/2006/relationships/chart" Target="../charts/chart281.xml"/><Relationship Id="rId12" Type="http://schemas.openxmlformats.org/officeDocument/2006/relationships/chart" Target="../charts/chart282.xml"/><Relationship Id="rId13" Type="http://schemas.openxmlformats.org/officeDocument/2006/relationships/chart" Target="../charts/chart283.xml"/><Relationship Id="rId14" Type="http://schemas.openxmlformats.org/officeDocument/2006/relationships/chart" Target="../charts/chart284.xml"/><Relationship Id="rId15" Type="http://schemas.openxmlformats.org/officeDocument/2006/relationships/chart" Target="../charts/chart285.xml"/><Relationship Id="rId16" Type="http://schemas.openxmlformats.org/officeDocument/2006/relationships/chart" Target="../charts/chart286.xml"/></Relationships>
</file>

<file path=ppt/slides/_rels/slide27.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7.xml"/><Relationship Id="rId3" Type="http://schemas.openxmlformats.org/officeDocument/2006/relationships/notesSlide" Target="../notesSlides/notesSlide2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87.xml"/><Relationship Id="rId7" Type="http://schemas.openxmlformats.org/officeDocument/2006/relationships/chart" Target="../charts/chart288.xml"/><Relationship Id="rId8" Type="http://schemas.openxmlformats.org/officeDocument/2006/relationships/chart" Target="../charts/chart289.xml"/><Relationship Id="rId9" Type="http://schemas.openxmlformats.org/officeDocument/2006/relationships/chart" Target="../charts/chart290.xml"/><Relationship Id="rId10" Type="http://schemas.openxmlformats.org/officeDocument/2006/relationships/chart" Target="../charts/chart291.xml"/><Relationship Id="rId11" Type="http://schemas.openxmlformats.org/officeDocument/2006/relationships/chart" Target="../charts/chart292.xml"/><Relationship Id="rId12" Type="http://schemas.openxmlformats.org/officeDocument/2006/relationships/chart" Target="../charts/chart293.xml"/><Relationship Id="rId13" Type="http://schemas.openxmlformats.org/officeDocument/2006/relationships/chart" Target="../charts/chart294.xml"/><Relationship Id="rId14" Type="http://schemas.openxmlformats.org/officeDocument/2006/relationships/chart" Target="../charts/chart295.xml"/><Relationship Id="rId15" Type="http://schemas.openxmlformats.org/officeDocument/2006/relationships/chart" Target="../charts/chart296.xml"/><Relationship Id="rId16" Type="http://schemas.openxmlformats.org/officeDocument/2006/relationships/chart" Target="../charts/chart297.xml"/></Relationships>
</file>

<file path=ppt/slides/_rels/slide3.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7.xml"/><Relationship Id="rId3" Type="http://schemas.openxmlformats.org/officeDocument/2006/relationships/notesSlide" Target="../notesSlides/notesSlide3.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23.xml"/><Relationship Id="rId7" Type="http://schemas.openxmlformats.org/officeDocument/2006/relationships/chart" Target="../charts/chart24.xml"/><Relationship Id="rId8" Type="http://schemas.openxmlformats.org/officeDocument/2006/relationships/chart" Target="../charts/chart25.xml"/><Relationship Id="rId9" Type="http://schemas.openxmlformats.org/officeDocument/2006/relationships/chart" Target="../charts/chart26.xml"/><Relationship Id="rId10" Type="http://schemas.openxmlformats.org/officeDocument/2006/relationships/chart" Target="../charts/chart27.xml"/><Relationship Id="rId11" Type="http://schemas.openxmlformats.org/officeDocument/2006/relationships/chart" Target="../charts/chart28.xml"/><Relationship Id="rId12" Type="http://schemas.openxmlformats.org/officeDocument/2006/relationships/chart" Target="../charts/chart29.xml"/><Relationship Id="rId13" Type="http://schemas.openxmlformats.org/officeDocument/2006/relationships/chart" Target="../charts/chart30.xml"/><Relationship Id="rId14" Type="http://schemas.openxmlformats.org/officeDocument/2006/relationships/chart" Target="../charts/chart31.xml"/><Relationship Id="rId15" Type="http://schemas.openxmlformats.org/officeDocument/2006/relationships/chart" Target="../charts/chart32.xml"/><Relationship Id="rId16" Type="http://schemas.openxmlformats.org/officeDocument/2006/relationships/chart" Target="../charts/chart33.xml"/></Relationships>
</file>

<file path=ppt/slides/_rels/slide4.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7.xml"/><Relationship Id="rId3" Type="http://schemas.openxmlformats.org/officeDocument/2006/relationships/notesSlide" Target="../notesSlides/notesSlide4.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34.xml"/><Relationship Id="rId7" Type="http://schemas.openxmlformats.org/officeDocument/2006/relationships/chart" Target="../charts/chart35.xml"/><Relationship Id="rId8" Type="http://schemas.openxmlformats.org/officeDocument/2006/relationships/chart" Target="../charts/chart36.xml"/><Relationship Id="rId9" Type="http://schemas.openxmlformats.org/officeDocument/2006/relationships/chart" Target="../charts/chart37.xml"/><Relationship Id="rId10" Type="http://schemas.openxmlformats.org/officeDocument/2006/relationships/chart" Target="../charts/chart38.xml"/><Relationship Id="rId11" Type="http://schemas.openxmlformats.org/officeDocument/2006/relationships/chart" Target="../charts/chart39.xml"/><Relationship Id="rId12" Type="http://schemas.openxmlformats.org/officeDocument/2006/relationships/chart" Target="../charts/chart40.xml"/><Relationship Id="rId13" Type="http://schemas.openxmlformats.org/officeDocument/2006/relationships/chart" Target="../charts/chart41.xml"/><Relationship Id="rId14" Type="http://schemas.openxmlformats.org/officeDocument/2006/relationships/chart" Target="../charts/chart42.xml"/><Relationship Id="rId15" Type="http://schemas.openxmlformats.org/officeDocument/2006/relationships/chart" Target="../charts/chart43.xml"/><Relationship Id="rId16" Type="http://schemas.openxmlformats.org/officeDocument/2006/relationships/chart" Target="../charts/chart44.xml"/></Relationships>
</file>

<file path=ppt/slides/_rels/slide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7.xml"/><Relationship Id="rId3" Type="http://schemas.openxmlformats.org/officeDocument/2006/relationships/notesSlide" Target="../notesSlides/notesSlide5.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45.xml"/><Relationship Id="rId7" Type="http://schemas.openxmlformats.org/officeDocument/2006/relationships/chart" Target="../charts/chart46.xml"/><Relationship Id="rId8" Type="http://schemas.openxmlformats.org/officeDocument/2006/relationships/chart" Target="../charts/chart47.xml"/><Relationship Id="rId9" Type="http://schemas.openxmlformats.org/officeDocument/2006/relationships/chart" Target="../charts/chart48.xml"/><Relationship Id="rId10" Type="http://schemas.openxmlformats.org/officeDocument/2006/relationships/chart" Target="../charts/chart49.xml"/><Relationship Id="rId11" Type="http://schemas.openxmlformats.org/officeDocument/2006/relationships/chart" Target="../charts/chart50.xml"/><Relationship Id="rId12" Type="http://schemas.openxmlformats.org/officeDocument/2006/relationships/chart" Target="../charts/chart51.xml"/><Relationship Id="rId13" Type="http://schemas.openxmlformats.org/officeDocument/2006/relationships/chart" Target="../charts/chart52.xml"/><Relationship Id="rId14" Type="http://schemas.openxmlformats.org/officeDocument/2006/relationships/chart" Target="../charts/chart53.xml"/><Relationship Id="rId15" Type="http://schemas.openxmlformats.org/officeDocument/2006/relationships/chart" Target="../charts/chart54.xml"/><Relationship Id="rId16" Type="http://schemas.openxmlformats.org/officeDocument/2006/relationships/chart" Target="../charts/chart55.xml"/></Relationships>
</file>

<file path=ppt/slides/_rels/slide6.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7.xml"/><Relationship Id="rId3" Type="http://schemas.openxmlformats.org/officeDocument/2006/relationships/notesSlide" Target="../notesSlides/notesSlide6.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56.xml"/><Relationship Id="rId7" Type="http://schemas.openxmlformats.org/officeDocument/2006/relationships/chart" Target="../charts/chart57.xml"/><Relationship Id="rId8" Type="http://schemas.openxmlformats.org/officeDocument/2006/relationships/chart" Target="../charts/chart58.xml"/><Relationship Id="rId9" Type="http://schemas.openxmlformats.org/officeDocument/2006/relationships/chart" Target="../charts/chart59.xml"/><Relationship Id="rId10" Type="http://schemas.openxmlformats.org/officeDocument/2006/relationships/chart" Target="../charts/chart60.xml"/><Relationship Id="rId11" Type="http://schemas.openxmlformats.org/officeDocument/2006/relationships/chart" Target="../charts/chart61.xml"/><Relationship Id="rId12" Type="http://schemas.openxmlformats.org/officeDocument/2006/relationships/chart" Target="../charts/chart62.xml"/><Relationship Id="rId13" Type="http://schemas.openxmlformats.org/officeDocument/2006/relationships/chart" Target="../charts/chart63.xml"/><Relationship Id="rId14" Type="http://schemas.openxmlformats.org/officeDocument/2006/relationships/chart" Target="../charts/chart64.xml"/><Relationship Id="rId15" Type="http://schemas.openxmlformats.org/officeDocument/2006/relationships/chart" Target="../charts/chart65.xml"/><Relationship Id="rId16" Type="http://schemas.openxmlformats.org/officeDocument/2006/relationships/chart" Target="../charts/chart66.xml"/></Relationships>
</file>

<file path=ppt/slides/_rels/slide7.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7.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67.xml"/><Relationship Id="rId7" Type="http://schemas.openxmlformats.org/officeDocument/2006/relationships/chart" Target="../charts/chart68.xml"/><Relationship Id="rId8" Type="http://schemas.openxmlformats.org/officeDocument/2006/relationships/chart" Target="../charts/chart69.xml"/><Relationship Id="rId9" Type="http://schemas.openxmlformats.org/officeDocument/2006/relationships/chart" Target="../charts/chart70.xml"/><Relationship Id="rId10" Type="http://schemas.openxmlformats.org/officeDocument/2006/relationships/chart" Target="../charts/chart71.xml"/><Relationship Id="rId11" Type="http://schemas.openxmlformats.org/officeDocument/2006/relationships/chart" Target="../charts/chart72.xml"/><Relationship Id="rId12" Type="http://schemas.openxmlformats.org/officeDocument/2006/relationships/chart" Target="../charts/chart73.xml"/><Relationship Id="rId13" Type="http://schemas.openxmlformats.org/officeDocument/2006/relationships/chart" Target="../charts/chart74.xml"/><Relationship Id="rId14" Type="http://schemas.openxmlformats.org/officeDocument/2006/relationships/chart" Target="../charts/chart75.xml"/><Relationship Id="rId15" Type="http://schemas.openxmlformats.org/officeDocument/2006/relationships/chart" Target="../charts/chart76.xml"/><Relationship Id="rId16" Type="http://schemas.openxmlformats.org/officeDocument/2006/relationships/chart" Target="../charts/chart77.xml"/></Relationships>
</file>

<file path=ppt/slides/_rels/slide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7.xml"/><Relationship Id="rId3" Type="http://schemas.openxmlformats.org/officeDocument/2006/relationships/notesSlide" Target="../notesSlides/notesSlide8.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78.xml"/><Relationship Id="rId7" Type="http://schemas.openxmlformats.org/officeDocument/2006/relationships/chart" Target="../charts/chart79.xml"/><Relationship Id="rId8" Type="http://schemas.openxmlformats.org/officeDocument/2006/relationships/chart" Target="../charts/chart80.xml"/><Relationship Id="rId9" Type="http://schemas.openxmlformats.org/officeDocument/2006/relationships/chart" Target="../charts/chart81.xml"/><Relationship Id="rId10" Type="http://schemas.openxmlformats.org/officeDocument/2006/relationships/chart" Target="../charts/chart82.xml"/><Relationship Id="rId11" Type="http://schemas.openxmlformats.org/officeDocument/2006/relationships/chart" Target="../charts/chart83.xml"/><Relationship Id="rId12" Type="http://schemas.openxmlformats.org/officeDocument/2006/relationships/chart" Target="../charts/chart84.xml"/><Relationship Id="rId13" Type="http://schemas.openxmlformats.org/officeDocument/2006/relationships/chart" Target="../charts/chart85.xml"/><Relationship Id="rId14" Type="http://schemas.openxmlformats.org/officeDocument/2006/relationships/chart" Target="../charts/chart86.xml"/><Relationship Id="rId15" Type="http://schemas.openxmlformats.org/officeDocument/2006/relationships/chart" Target="../charts/chart87.xml"/><Relationship Id="rId16" Type="http://schemas.openxmlformats.org/officeDocument/2006/relationships/chart" Target="../charts/chart88.xml"/></Relationships>
</file>

<file path=ppt/slides/_rels/slide9.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9.xml"/><Relationship Id="rId4" Type="http://schemas.openxmlformats.org/officeDocument/2006/relationships/oleObject" Target="../embeddings/oleObject27.bin"/><Relationship Id="rId5" Type="http://schemas.openxmlformats.org/officeDocument/2006/relationships/image" Target="../media/image28.emf"/><Relationship Id="rId6" Type="http://schemas.openxmlformats.org/officeDocument/2006/relationships/chart" Target="../charts/chart89.xml"/><Relationship Id="rId7" Type="http://schemas.openxmlformats.org/officeDocument/2006/relationships/chart" Target="../charts/chart90.xml"/><Relationship Id="rId8" Type="http://schemas.openxmlformats.org/officeDocument/2006/relationships/chart" Target="../charts/chart91.xml"/><Relationship Id="rId9" Type="http://schemas.openxmlformats.org/officeDocument/2006/relationships/chart" Target="../charts/chart92.xml"/><Relationship Id="rId10" Type="http://schemas.openxmlformats.org/officeDocument/2006/relationships/chart" Target="../charts/chart93.xml"/><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 Id="rId14" Type="http://schemas.openxmlformats.org/officeDocument/2006/relationships/chart" Target="../charts/chart97.xml"/><Relationship Id="rId15" Type="http://schemas.openxmlformats.org/officeDocument/2006/relationships/chart" Target="../charts/chart98.xml"/><Relationship Id="rId16" Type="http://schemas.openxmlformats.org/officeDocument/2006/relationships/chart" Target="../charts/char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9227939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1218466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7926571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0400455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1031434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8060457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6206787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3496493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6869900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2325597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1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5368514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rrefour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0266441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0</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40774415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1</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4558222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2</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5453452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1345683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5594656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4900509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gridCol w="678127">
                  <a:extLst>
                    <a:ext uri="{9D8B030D-6E8A-4147-A177-3AD203B41FA5}">
                      <a16:colId xmlns:a16="http://schemas.microsoft.com/office/drawing/2014/main" val="1173533836"/>
                    </a:ext>
                  </a:extLst>
                </a:gridCol>
                <a:gridCol w="678127">
                  <a:extLst>
                    <a:ext uri="{9D8B030D-6E8A-4147-A177-3AD203B41FA5}">
                      <a16:colId xmlns:a16="http://schemas.microsoft.com/office/drawing/2014/main" val="2420767130"/>
                    </a:ext>
                  </a:extLst>
                </a:gridCol>
                <a:gridCol w="678127">
                  <a:extLst>
                    <a:ext uri="{9D8B030D-6E8A-4147-A177-3AD203B41FA5}">
                      <a16:colId xmlns:a16="http://schemas.microsoft.com/office/drawing/2014/main" val="3346967865"/>
                    </a:ext>
                  </a:extLst>
                </a:gridCol>
                <a:gridCol w="678127">
                  <a:extLst>
                    <a:ext uri="{9D8B030D-6E8A-4147-A177-3AD203B41FA5}">
                      <a16:colId xmlns:a16="http://schemas.microsoft.com/office/drawing/2014/main" val="1999781626"/>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Enfan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Frais A Tartiner</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alad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lassiqu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Chevre</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8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12700"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T1-C2">
            <a:extLst>
              <a:ext uri="{FF2B5EF4-FFF2-40B4-BE49-F238E27FC236}">
                <a16:creationId xmlns:a16="http://schemas.microsoft.com/office/drawing/2014/main" id="{B2C15C6B-4DD2-1627-CE71-61CD4606B727}"/>
              </a:ext>
            </a:extLst>
          </p:cNvPr>
          <p:cNvGraphicFramePr>
            <a:graphicFrameLocks/>
          </p:cNvGraphicFramePr>
          <p:nvPr>
            <p:extLst>
              <p:ext uri="{D42A27DB-BD31-4B8C-83A1-F6EECF244321}">
                <p14:modId xmlns:p14="http://schemas.microsoft.com/office/powerpoint/2010/main" val="2524710362"/>
              </p:ext>
            </p:extLst>
          </p:nvPr>
        </p:nvGraphicFramePr>
        <p:xfrm>
          <a:off x="5937864" y="1789638"/>
          <a:ext cx="650261" cy="292608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 name="T1-C2">
            <a:extLst>
              <a:ext uri="{FF2B5EF4-FFF2-40B4-BE49-F238E27FC236}">
                <a16:creationId xmlns:a16="http://schemas.microsoft.com/office/drawing/2014/main" id="{2BE6C1F3-CCA9-0847-187A-18D8EE5E3D4D}"/>
              </a:ext>
            </a:extLst>
          </p:cNvPr>
          <p:cNvGraphicFramePr>
            <a:graphicFrameLocks/>
          </p:cNvGraphicFramePr>
          <p:nvPr>
            <p:extLst>
              <p:ext uri="{D42A27DB-BD31-4B8C-83A1-F6EECF244321}">
                <p14:modId xmlns:p14="http://schemas.microsoft.com/office/powerpoint/2010/main" val="3197133365"/>
              </p:ext>
            </p:extLst>
          </p:nvPr>
        </p:nvGraphicFramePr>
        <p:xfrm>
          <a:off x="6678543" y="1784578"/>
          <a:ext cx="604587" cy="292608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T1-C2">
            <a:extLst>
              <a:ext uri="{FF2B5EF4-FFF2-40B4-BE49-F238E27FC236}">
                <a16:creationId xmlns:a16="http://schemas.microsoft.com/office/drawing/2014/main" id="{D1D32EDD-B8E8-1F29-570F-221E9957BA07}"/>
              </a:ext>
            </a:extLst>
          </p:cNvPr>
          <p:cNvGraphicFramePr>
            <a:graphicFrameLocks/>
          </p:cNvGraphicFramePr>
          <p:nvPr>
            <p:extLst>
              <p:ext uri="{D42A27DB-BD31-4B8C-83A1-F6EECF244321}">
                <p14:modId xmlns:p14="http://schemas.microsoft.com/office/powerpoint/2010/main" val="3136209033"/>
              </p:ext>
            </p:extLst>
          </p:nvPr>
        </p:nvGraphicFramePr>
        <p:xfrm>
          <a:off x="7297614" y="1790655"/>
          <a:ext cx="667472" cy="292608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1" name="T1-C2">
            <a:extLst>
              <a:ext uri="{FF2B5EF4-FFF2-40B4-BE49-F238E27FC236}">
                <a16:creationId xmlns:a16="http://schemas.microsoft.com/office/drawing/2014/main" id="{E34B971B-ACE0-EA35-2925-66BE4D3683F1}"/>
              </a:ext>
            </a:extLst>
          </p:cNvPr>
          <p:cNvGraphicFramePr>
            <a:graphicFrameLocks/>
          </p:cNvGraphicFramePr>
          <p:nvPr>
            <p:extLst>
              <p:ext uri="{D42A27DB-BD31-4B8C-83A1-F6EECF244321}">
                <p14:modId xmlns:p14="http://schemas.microsoft.com/office/powerpoint/2010/main" val="7492850"/>
              </p:ext>
            </p:extLst>
          </p:nvPr>
        </p:nvGraphicFramePr>
        <p:xfrm>
          <a:off x="8030164" y="1785590"/>
          <a:ext cx="604586" cy="2926080"/>
        </p:xfrm>
        <a:graphic>
          <a:graphicData uri="http://schemas.openxmlformats.org/drawingml/2006/chart">
            <c:chart xmlns:c="http://schemas.openxmlformats.org/drawingml/2006/chart" xmlns:r="http://schemas.openxmlformats.org/officeDocument/2006/relationships" r:id="rId16"/>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05138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2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gment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gment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Brebis</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pecialit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7106175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3</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Intermarche | Kiri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Kiri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8302232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4</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NATIONAL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366333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5</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rrefour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4%</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10899384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6</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Intermarche | La Vache Qui Rit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La Vache Qui Rit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0952258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7</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NATIONAL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00%</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35006929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8</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Carrefour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77%</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2%</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21%</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4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40019756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0F075A-F825-AF08-182B-E6D53B40EB17}"/>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4C39F9B-CE24-FC19-0B76-9076102338E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9" name="think-cell data - do not delete" hidden="1">
                        <a:extLst>
                          <a:ext uri="{FF2B5EF4-FFF2-40B4-BE49-F238E27FC236}">
                            <a16:creationId xmlns:a16="http://schemas.microsoft.com/office/drawing/2014/main" id="{84C39F9B-CE24-FC19-0B76-9076102338E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4" name="Slide Number Placeholder 23">
            <a:extLst>
              <a:ext uri="{FF2B5EF4-FFF2-40B4-BE49-F238E27FC236}">
                <a16:creationId xmlns:a16="http://schemas.microsoft.com/office/drawing/2014/main" id="{9A553DA6-4D84-92DA-888E-1A4558993847}"/>
              </a:ext>
            </a:extLst>
          </p:cNvPr>
          <p:cNvSpPr>
            <a:spLocks noGrp="1"/>
          </p:cNvSpPr>
          <p:nvPr>
            <p:ph type="sldNum" sz="quarter" idx="16"/>
          </p:nvPr>
        </p:nvSpPr>
        <p:spPr>
          <a:xfrm>
            <a:off x="8640762" y="4972050"/>
            <a:ext cx="369965" cy="172800"/>
          </a:xfrm>
        </p:spPr>
        <p:txBody>
          <a:bodyPr/>
          <a:lstStyle/>
          <a:p>
            <a:pPr lvl="0"/>
            <a:fld id="{7B1F438D-4EAF-094E-9162-80CF3EF77236}" type="slidenum">
              <a:rPr lang="en-US" noProof="0" smtClean="0"/>
              <a:pPr lvl="0"/>
              <a:t>9</a:t>
            </a:fld>
            <a:endParaRPr lang="en-US" noProof="0"/>
          </a:p>
        </p:txBody>
      </p:sp>
      <p:sp>
        <p:nvSpPr>
          <p:cNvPr id="36" name="Text Placeholder 35">
            <a:extLst>
              <a:ext uri="{FF2B5EF4-FFF2-40B4-BE49-F238E27FC236}">
                <a16:creationId xmlns:a16="http://schemas.microsoft.com/office/drawing/2014/main" id="{EF4F0EB3-164B-0792-6262-CE6178880FE6}"/>
              </a:ext>
            </a:extLst>
          </p:cNvPr>
          <p:cNvSpPr>
            <a:spLocks noGrp="1"/>
          </p:cNvSpPr>
          <p:nvPr>
            <p:ph type="body" sz="quarter" idx="17"/>
          </p:nvPr>
        </p:nvSpPr>
        <p:spPr>
          <a:xfrm>
            <a:off x="0" y="4734106"/>
            <a:ext cx="4572000" cy="222878"/>
          </a:xfrm>
        </p:spPr>
        <p:txBody>
          <a:bodyPr/>
          <a:lstStyle/>
          <a:p>
            <a:r>
              <a:t>DATA SOURCE: Trade Panel/Retailer Data | July 2025</a:t>
            </a:r>
          </a:p>
        </p:txBody>
      </p:sp>
      <p:sp>
        <p:nvSpPr>
          <p:cNvPr id="37" name="Text Placeholder 36">
            <a:extLst>
              <a:ext uri="{FF2B5EF4-FFF2-40B4-BE49-F238E27FC236}">
                <a16:creationId xmlns:a16="http://schemas.microsoft.com/office/drawing/2014/main" id="{24AFEC65-597B-9E4B-3074-BFE1EA494DC1}"/>
              </a:ext>
            </a:extLst>
          </p:cNvPr>
          <p:cNvSpPr>
            <a:spLocks noGrp="1"/>
          </p:cNvSpPr>
          <p:nvPr>
            <p:ph type="body" sz="quarter" idx="18"/>
          </p:nvPr>
        </p:nvSpPr>
        <p:spPr>
          <a:xfrm>
            <a:off x="503238" y="774000"/>
            <a:ext cx="8136762" cy="360000"/>
          </a:xfrm>
        </p:spPr>
        <p:txBody>
          <a:bodyPr/>
          <a:lstStyle/>
          <a:p>
            <a:pPr>
              <a:defRPr b="1" sz="1200"/>
            </a:pPr>
            <a:r>
              <a:t>Brand Share Topline By Base Price Bracket By Sector | Intermarche | Boursin | P3M</a:t>
            </a:r>
          </a:p>
        </p:txBody>
      </p:sp>
      <p:sp>
        <p:nvSpPr>
          <p:cNvPr id="5" name="Title 4">
            <a:extLst>
              <a:ext uri="{FF2B5EF4-FFF2-40B4-BE49-F238E27FC236}">
                <a16:creationId xmlns:a16="http://schemas.microsoft.com/office/drawing/2014/main" id="{0BE96426-8C0B-9F15-B5C8-FDDF71C4F1F7}"/>
              </a:ext>
            </a:extLst>
          </p:cNvPr>
          <p:cNvSpPr>
            <a:spLocks noGrp="1"/>
          </p:cNvSpPr>
          <p:nvPr>
            <p:ph type="title"/>
          </p:nvPr>
        </p:nvSpPr>
        <p:spPr>
          <a:xfrm>
            <a:off x="504000" y="-1"/>
            <a:ext cx="8136000" cy="771525"/>
          </a:xfrm>
          <a:noFill/>
        </p:spPr>
        <p:txBody>
          <a:bodyPr vert="horz"/>
          <a:lstStyle/>
          <a:p>
            <a:pPr>
              <a:defRPr sz="1600"/>
            </a:pPr>
            <a:r>
              <a:rPr lang="en-US" dirty="0">
                <a:highlight>
                  <a:srgbClr val="FFFF00"/>
                </a:highlight>
              </a:rPr>
              <a:t>Brackets Analysis By Sector </a:t>
            </a:r>
            <a:r>
              <a:rPr lang="en-US" dirty="0">
                <a:solidFill>
                  <a:schemeClr val="bg2">
                    <a:lumMod val="90000"/>
                  </a:schemeClr>
                </a:solidFill>
                <a:highlight>
                  <a:srgbClr val="FFFF00"/>
                </a:highlight>
              </a:rPr>
              <a:t>(Replace with SO WHAT)</a:t>
            </a:r>
            <a:endParaRPr lang="en-GB" dirty="0">
              <a:solidFill>
                <a:schemeClr val="bg2">
                  <a:lumMod val="90000"/>
                </a:schemeClr>
              </a:solidFill>
              <a:highlight>
                <a:srgbClr val="FFFF00"/>
              </a:highlight>
            </a:endParaRPr>
          </a:p>
        </p:txBody>
      </p:sp>
      <p:graphicFrame>
        <p:nvGraphicFramePr>
          <p:cNvPr id="13" name="T1">
            <a:extLst>
              <a:ext uri="{FF2B5EF4-FFF2-40B4-BE49-F238E27FC236}">
                <a16:creationId xmlns:a16="http://schemas.microsoft.com/office/drawing/2014/main" id="{7CAC3159-E411-E3D3-557C-702DA4608856}"/>
              </a:ext>
            </a:extLst>
          </p:cNvPr>
          <p:cNvGraphicFramePr>
            <a:graphicFrameLocks noGrp="1"/>
          </p:cNvGraphicFramePr>
          <p:nvPr>
            <p:extLst>
              <p:ext uri="{D42A27DB-BD31-4B8C-83A1-F6EECF244321}">
                <p14:modId xmlns:p14="http://schemas.microsoft.com/office/powerpoint/2010/main" val="389923520"/>
              </p:ext>
            </p:extLst>
          </p:nvPr>
        </p:nvGraphicFramePr>
        <p:xfrm>
          <a:off x="503238" y="1123950"/>
          <a:ext cx="8137524" cy="3608462"/>
        </p:xfrm>
        <a:graphic>
          <a:graphicData uri="http://schemas.openxmlformats.org/drawingml/2006/table">
            <a:tbl>
              <a:tblPr firstRow="1" bandRow="1">
                <a:tableStyleId>{5C22544A-7EE6-4342-B048-85BDC9FD1C3A}</a:tableStyleId>
              </a:tblPr>
              <a:tblGrid>
                <a:gridCol w="678127">
                  <a:extLst>
                    <a:ext uri="{9D8B030D-6E8A-4147-A177-3AD203B41FA5}">
                      <a16:colId xmlns:a16="http://schemas.microsoft.com/office/drawing/2014/main" val="2374043349"/>
                    </a:ext>
                  </a:extLst>
                </a:gridCol>
                <a:gridCol w="678127">
                  <a:extLst>
                    <a:ext uri="{9D8B030D-6E8A-4147-A177-3AD203B41FA5}">
                      <a16:colId xmlns:a16="http://schemas.microsoft.com/office/drawing/2014/main" val="686446515"/>
                    </a:ext>
                  </a:extLst>
                </a:gridCol>
                <a:gridCol w="678127">
                  <a:extLst>
                    <a:ext uri="{9D8B030D-6E8A-4147-A177-3AD203B41FA5}">
                      <a16:colId xmlns:a16="http://schemas.microsoft.com/office/drawing/2014/main" val="615267332"/>
                    </a:ext>
                  </a:extLst>
                </a:gridCol>
                <a:gridCol w="678127">
                  <a:extLst>
                    <a:ext uri="{9D8B030D-6E8A-4147-A177-3AD203B41FA5}">
                      <a16:colId xmlns:a16="http://schemas.microsoft.com/office/drawing/2014/main" val="3934928471"/>
                    </a:ext>
                  </a:extLst>
                </a:gridCol>
                <a:gridCol w="678127">
                  <a:extLst>
                    <a:ext uri="{9D8B030D-6E8A-4147-A177-3AD203B41FA5}">
                      <a16:colId xmlns:a16="http://schemas.microsoft.com/office/drawing/2014/main" val="1998921615"/>
                    </a:ext>
                  </a:extLst>
                </a:gridCol>
                <a:gridCol w="678127">
                  <a:extLst>
                    <a:ext uri="{9D8B030D-6E8A-4147-A177-3AD203B41FA5}">
                      <a16:colId xmlns:a16="http://schemas.microsoft.com/office/drawing/2014/main" val="3704632370"/>
                    </a:ext>
                  </a:extLst>
                </a:gridCol>
                <a:gridCol w="678127">
                  <a:extLst>
                    <a:ext uri="{9D8B030D-6E8A-4147-A177-3AD203B41FA5}">
                      <a16:colId xmlns:a16="http://schemas.microsoft.com/office/drawing/2014/main" val="609616894"/>
                    </a:ext>
                  </a:extLst>
                </a:gridCol>
                <a:gridCol w="678127">
                  <a:extLst>
                    <a:ext uri="{9D8B030D-6E8A-4147-A177-3AD203B41FA5}">
                      <a16:colId xmlns:a16="http://schemas.microsoft.com/office/drawing/2014/main" val="610377723"/>
                    </a:ext>
                  </a:extLst>
                </a:gridCol>
              </a:tblGrid>
              <a:tr h="263031">
                <a:tc rowSpan="2">
                  <a:txBody>
                    <a:bodyPr/>
                    <a:lstStyle/>
                    <a:p>
                      <a:endParaRPr lang="en-US" sz="700" kern="1200" dirty="0">
                        <a:solidFill>
                          <a:schemeClr val="bg1"/>
                        </a:solidFill>
                        <a:latin typeface="Nexa Bold (Headings)"/>
                        <a:ea typeface="+mn-ea"/>
                        <a:cs typeface="+mn-cs"/>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b="0">
                          <a:solidFill>
                            <a:srgbClr val="575555"/>
                          </a:solidFill>
                          <a:latin typeface="Nexa Bold"/>
                        </a:defRPr>
                      </a:pPr>
                      <a:r>
                        <a:t>Total Fromag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Soft Chee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Aperitif</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pPr algn="ctr">
                        <a:defRPr sz="700" b="0">
                          <a:solidFill>
                            <a:srgbClr val="575555"/>
                          </a:solidFill>
                          <a:latin typeface="Nexa Bold"/>
                        </a:defRPr>
                      </a:pPr>
                      <a:r>
                        <a:t>Ingredient A Chau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sz="700" kern="1200">
                        <a:solidFill>
                          <a:schemeClr val="tx1"/>
                        </a:solidFill>
                        <a:latin typeface="Nexa Bold (Headings)"/>
                        <a:ea typeface="+mn-ea"/>
                        <a:cs typeface="+mn-cs"/>
                      </a:endParaRPr>
                    </a:p>
                  </a:txBody>
                  <a:tcPr marL="36000" marR="36000" marT="10800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594213"/>
                  </a:ext>
                </a:extLst>
              </a:tr>
              <a:tr h="384407">
                <a:tc vMerge="1">
                  <a:txBody>
                    <a:bodyPr/>
                    <a:lstStyle/>
                    <a:p>
                      <a:endParaRPr/>
                    </a:p>
                  </a:txBody>
                  <a:tcPr marL="68580" marR="68580" marT="108000" marB="34290">
                    <a:lnL w="12700" cap="flat" cmpd="sng" algn="ctr">
                      <a:no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rPr>
                        <a:t>Value Share (%)</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sz="700">
                          <a:latin typeface="Nexa Bold"/>
                        </a:defRPr>
                      </a:pPr>
                      <a:r>
                        <a:rPr lang="en-US" sz="700" b="0" i="0" dirty="0">
                          <a:solidFill>
                            <a:srgbClr val="575555"/>
                          </a:solidFill>
                          <a:latin typeface="Nexa Bold" panose="00000800000000000000"/>
                        </a:rPr>
                        <a:t>Value Share (%)</a:t>
                      </a:r>
                      <a:endParaRPr kumimoji="0" lang="en-US" sz="700" b="0" i="0" u="none" strike="noStrike" kern="1200" cap="none" spc="0" normalizeH="0" baseline="0" noProof="0" dirty="0">
                        <a:ln>
                          <a:noFill/>
                        </a:ln>
                        <a:solidFill>
                          <a:srgbClr val="575555"/>
                        </a:solidFill>
                        <a:effectLst/>
                        <a:uLnTx/>
                        <a:uFillTx/>
                        <a:latin typeface="Nexa Bold" panose="00000800000000000000"/>
                        <a:ea typeface="+mn-ea"/>
                        <a:cs typeface="+mn-cs"/>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defRPr sz="700">
                          <a:latin typeface="Nexa Bold"/>
                        </a:defRPr>
                      </a:pPr>
                      <a:r>
                        <a:t>Boursin VS </a:t>
                      </a:r>
                      <a:r>
                        <a:rPr>
                          <a:solidFill>
                            <a:srgbClr val="00A097"/>
                          </a:solidFill>
                        </a:rPr>
                        <a:t>| WOB</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1121220"/>
                  </a:ext>
                </a:extLst>
              </a:tr>
              <a:tr h="269184">
                <a:tc>
                  <a:txBody>
                    <a:bodyPr/>
                    <a:lstStyle/>
                    <a:p>
                      <a:pPr algn="ctr">
                        <a:defRPr sz="700">
                          <a:latin typeface="Nexa Bold"/>
                        </a:defRPr>
                      </a:pPr>
                      <a:r>
                        <a:t>6+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436737277"/>
                  </a:ext>
                </a:extLst>
              </a:tr>
              <a:tr h="269184">
                <a:tc>
                  <a:txBody>
                    <a:bodyPr/>
                    <a:lstStyle/>
                    <a:p>
                      <a:pPr algn="ctr">
                        <a:defRPr sz="700">
                          <a:latin typeface="Nexa Bold"/>
                        </a:defRPr>
                      </a:pPr>
                      <a:r>
                        <a:t>5.5-5.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55726783"/>
                  </a:ext>
                </a:extLst>
              </a:tr>
              <a:tr h="269184">
                <a:tc>
                  <a:txBody>
                    <a:bodyPr/>
                    <a:lstStyle/>
                    <a:p>
                      <a:pPr algn="ctr">
                        <a:defRPr sz="700">
                          <a:latin typeface="Nexa Bold"/>
                        </a:defRPr>
                      </a:pPr>
                      <a:r>
                        <a:t>5-5.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53800120"/>
                  </a:ext>
                </a:extLst>
              </a:tr>
              <a:tr h="269184">
                <a:tc>
                  <a:txBody>
                    <a:bodyPr/>
                    <a:lstStyle/>
                    <a:p>
                      <a:pPr algn="ctr">
                        <a:defRPr sz="700">
                          <a:latin typeface="Nexa Bold"/>
                        </a:defRPr>
                      </a:pPr>
                      <a:r>
                        <a:t>4.5-4.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450071424"/>
                  </a:ext>
                </a:extLst>
              </a:tr>
              <a:tr h="269184">
                <a:tc>
                  <a:txBody>
                    <a:bodyPr/>
                    <a:lstStyle/>
                    <a:p>
                      <a:pPr algn="ctr">
                        <a:defRPr sz="700">
                          <a:latin typeface="Nexa Bold"/>
                        </a:defRPr>
                      </a:pPr>
                      <a:r>
                        <a:t>4-4.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dirty="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220444659"/>
                  </a:ext>
                </a:extLst>
              </a:tr>
              <a:tr h="269184">
                <a:tc>
                  <a:txBody>
                    <a:bodyPr/>
                    <a:lstStyle/>
                    <a:p>
                      <a:pPr algn="ctr">
                        <a:defRPr sz="700">
                          <a:latin typeface="Nexa Bold"/>
                        </a:defRPr>
                      </a:pPr>
                      <a:r>
                        <a:t>3.5-3.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9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598455198"/>
                  </a:ext>
                </a:extLst>
              </a:tr>
              <a:tr h="269184">
                <a:tc>
                  <a:txBody>
                    <a:bodyPr/>
                    <a:lstStyle/>
                    <a:p>
                      <a:pPr algn="ctr">
                        <a:defRPr sz="700">
                          <a:latin typeface="Nexa Bold"/>
                        </a:defRPr>
                      </a:pPr>
                      <a:r>
                        <a:t>3-3.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3%</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3237772440"/>
                  </a:ext>
                </a:extLst>
              </a:tr>
              <a:tr h="269184">
                <a:tc>
                  <a:txBody>
                    <a:bodyPr/>
                    <a:lstStyle/>
                    <a:p>
                      <a:pPr algn="ctr">
                        <a:defRPr sz="700">
                          <a:latin typeface="Nexa Bold"/>
                        </a:defRPr>
                      </a:pPr>
                      <a:r>
                        <a:t>2.5-2.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15%</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408549440"/>
                  </a:ext>
                </a:extLst>
              </a:tr>
              <a:tr h="269184">
                <a:tc>
                  <a:txBody>
                    <a:bodyPr/>
                    <a:lstStyle/>
                    <a:p>
                      <a:pPr algn="ctr">
                        <a:defRPr sz="700">
                          <a:latin typeface="Nexa Bold"/>
                        </a:defRPr>
                      </a:pPr>
                      <a:r>
                        <a:t>2-2.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58%</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511501353"/>
                  </a:ext>
                </a:extLst>
              </a:tr>
              <a:tr h="269184">
                <a:tc>
                  <a:txBody>
                    <a:bodyPr/>
                    <a:lstStyle/>
                    <a:p>
                      <a:pPr algn="ctr">
                        <a:defRPr sz="700">
                          <a:latin typeface="Nexa Bold"/>
                        </a:defRPr>
                      </a:pPr>
                      <a:r>
                        <a:t>1.5-1.9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r>
                        <a:t>6%</a:t>
                      </a: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1685660266"/>
                  </a:ext>
                </a:extLst>
              </a:tr>
              <a:tr h="269184">
                <a:tc>
                  <a:txBody>
                    <a:bodyPr/>
                    <a:lstStyle/>
                    <a:p>
                      <a:pPr algn="ctr">
                        <a:defRPr sz="700">
                          <a:latin typeface="Nexa Bold"/>
                        </a:defRPr>
                      </a:pPr>
                      <a:r>
                        <a:t>0-1.49 €</a:t>
                      </a:r>
                    </a:p>
                  </a:txBody>
                  <a:tcPr marL="4763" marR="4763" marT="4763" marB="0" anchor="ctr">
                    <a:lnL w="12700"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kern="1200" dirty="0">
                        <a:solidFill>
                          <a:schemeClr val="dk1"/>
                        </a:solidFill>
                        <a:latin typeface="Nexa Bold (Headings)"/>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ctr" fontAlgn="b"/>
                      <a:endParaRPr lang="en-US" sz="600" b="1" kern="1200">
                        <a:solidFill>
                          <a:srgbClr val="00A097"/>
                        </a:solidFill>
                        <a:latin typeface="Nexa Book Italic"/>
                        <a:ea typeface="+mn-ea"/>
                        <a:cs typeface="+mn-cs"/>
                      </a:endParaR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tc>
                  <a:txBody>
                    <a:bodyPr/>
                    <a:lstStyle/>
                    <a:p>
                      <a:pPr algn="r">
                        <a:defRPr sz="600" b="1">
                          <a:solidFill>
                            <a:srgbClr val="00A097"/>
                          </a:solidFill>
                          <a:latin typeface="Nexa Book Italic"/>
                        </a:defRPr>
                      </a:pPr>
                    </a:p>
                  </a:txBody>
                  <a:tcPr marL="4763" marR="4763" marT="4763"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noFill/>
                  </a:tcPr>
                </a:tc>
                <a:extLst>
                  <a:ext uri="{0D108BD9-81ED-4DB2-BD59-A6C34878D82A}">
                    <a16:rowId xmlns:a16="http://schemas.microsoft.com/office/drawing/2014/main" val="2698476446"/>
                  </a:ext>
                </a:extLst>
              </a:tr>
            </a:tbl>
          </a:graphicData>
        </a:graphic>
      </p:graphicFrame>
      <p:graphicFrame>
        <p:nvGraphicFramePr>
          <p:cNvPr id="7" name="T1-C2">
            <a:extLst>
              <a:ext uri="{FF2B5EF4-FFF2-40B4-BE49-F238E27FC236}">
                <a16:creationId xmlns:a16="http://schemas.microsoft.com/office/drawing/2014/main" id="{0A397BF3-B8D4-BFB9-0488-EB71EC5B14A1}"/>
              </a:ext>
            </a:extLst>
          </p:cNvPr>
          <p:cNvGraphicFramePr>
            <a:graphicFrameLocks/>
          </p:cNvGraphicFramePr>
          <p:nvPr>
            <p:extLst>
              <p:ext uri="{D42A27DB-BD31-4B8C-83A1-F6EECF244321}">
                <p14:modId xmlns:p14="http://schemas.microsoft.com/office/powerpoint/2010/main" val="2457588383"/>
              </p:ext>
            </p:extLst>
          </p:nvPr>
        </p:nvGraphicFramePr>
        <p:xfrm>
          <a:off x="1190231" y="1791819"/>
          <a:ext cx="690608" cy="29260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T1-C2">
            <a:extLst>
              <a:ext uri="{FF2B5EF4-FFF2-40B4-BE49-F238E27FC236}">
                <a16:creationId xmlns:a16="http://schemas.microsoft.com/office/drawing/2014/main" id="{672ACA9F-654A-874E-D781-3021D339BA9D}"/>
              </a:ext>
            </a:extLst>
          </p:cNvPr>
          <p:cNvGraphicFramePr>
            <a:graphicFrameLocks/>
          </p:cNvGraphicFramePr>
          <p:nvPr>
            <p:extLst>
              <p:ext uri="{D42A27DB-BD31-4B8C-83A1-F6EECF244321}">
                <p14:modId xmlns:p14="http://schemas.microsoft.com/office/powerpoint/2010/main" val="1684351778"/>
              </p:ext>
            </p:extLst>
          </p:nvPr>
        </p:nvGraphicFramePr>
        <p:xfrm>
          <a:off x="1872714" y="1786602"/>
          <a:ext cx="683161" cy="29260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T1-C2">
            <a:extLst>
              <a:ext uri="{FF2B5EF4-FFF2-40B4-BE49-F238E27FC236}">
                <a16:creationId xmlns:a16="http://schemas.microsoft.com/office/drawing/2014/main" id="{25093E4B-5377-5014-B672-E5B7AF3DB3CF}"/>
              </a:ext>
            </a:extLst>
          </p:cNvPr>
          <p:cNvGraphicFramePr>
            <a:graphicFrameLocks/>
          </p:cNvGraphicFramePr>
          <p:nvPr>
            <p:extLst>
              <p:ext uri="{D42A27DB-BD31-4B8C-83A1-F6EECF244321}">
                <p14:modId xmlns:p14="http://schemas.microsoft.com/office/powerpoint/2010/main" val="2396946981"/>
              </p:ext>
            </p:extLst>
          </p:nvPr>
        </p:nvGraphicFramePr>
        <p:xfrm>
          <a:off x="2586439" y="1781542"/>
          <a:ext cx="640453" cy="29260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T1-C2">
            <a:extLst>
              <a:ext uri="{FF2B5EF4-FFF2-40B4-BE49-F238E27FC236}">
                <a16:creationId xmlns:a16="http://schemas.microsoft.com/office/drawing/2014/main" id="{0E643FA9-1CFE-9D88-9ACE-60BC4DDFAA65}"/>
              </a:ext>
            </a:extLst>
          </p:cNvPr>
          <p:cNvGraphicFramePr>
            <a:graphicFrameLocks/>
          </p:cNvGraphicFramePr>
          <p:nvPr>
            <p:extLst>
              <p:ext uri="{D42A27DB-BD31-4B8C-83A1-F6EECF244321}">
                <p14:modId xmlns:p14="http://schemas.microsoft.com/office/powerpoint/2010/main" val="521043821"/>
              </p:ext>
            </p:extLst>
          </p:nvPr>
        </p:nvGraphicFramePr>
        <p:xfrm>
          <a:off x="3254484" y="1776325"/>
          <a:ext cx="635563" cy="2952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T1-C2">
            <a:extLst>
              <a:ext uri="{FF2B5EF4-FFF2-40B4-BE49-F238E27FC236}">
                <a16:creationId xmlns:a16="http://schemas.microsoft.com/office/drawing/2014/main" id="{721B70E1-283E-28BD-E85C-7CE6547529FE}"/>
              </a:ext>
            </a:extLst>
          </p:cNvPr>
          <p:cNvGraphicFramePr>
            <a:graphicFrameLocks/>
          </p:cNvGraphicFramePr>
          <p:nvPr>
            <p:extLst>
              <p:ext uri="{D42A27DB-BD31-4B8C-83A1-F6EECF244321}">
                <p14:modId xmlns:p14="http://schemas.microsoft.com/office/powerpoint/2010/main" val="1690247885"/>
              </p:ext>
            </p:extLst>
          </p:nvPr>
        </p:nvGraphicFramePr>
        <p:xfrm>
          <a:off x="3974528" y="1771265"/>
          <a:ext cx="597472" cy="2952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T1-C2">
            <a:extLst>
              <a:ext uri="{FF2B5EF4-FFF2-40B4-BE49-F238E27FC236}">
                <a16:creationId xmlns:a16="http://schemas.microsoft.com/office/drawing/2014/main" id="{BE35D4BD-66AF-D630-D93D-3D1B45173785}"/>
              </a:ext>
            </a:extLst>
          </p:cNvPr>
          <p:cNvGraphicFramePr>
            <a:graphicFrameLocks/>
          </p:cNvGraphicFramePr>
          <p:nvPr>
            <p:extLst>
              <p:ext uri="{D42A27DB-BD31-4B8C-83A1-F6EECF244321}">
                <p14:modId xmlns:p14="http://schemas.microsoft.com/office/powerpoint/2010/main" val="868804167"/>
              </p:ext>
            </p:extLst>
          </p:nvPr>
        </p:nvGraphicFramePr>
        <p:xfrm>
          <a:off x="4585272" y="1788626"/>
          <a:ext cx="669891" cy="292608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T1-C2">
            <a:extLst>
              <a:ext uri="{FF2B5EF4-FFF2-40B4-BE49-F238E27FC236}">
                <a16:creationId xmlns:a16="http://schemas.microsoft.com/office/drawing/2014/main" id="{D392F525-E17B-1DAF-F302-13648FD79362}"/>
              </a:ext>
            </a:extLst>
          </p:cNvPr>
          <p:cNvGraphicFramePr>
            <a:graphicFrameLocks/>
          </p:cNvGraphicFramePr>
          <p:nvPr>
            <p:extLst>
              <p:ext uri="{D42A27DB-BD31-4B8C-83A1-F6EECF244321}">
                <p14:modId xmlns:p14="http://schemas.microsoft.com/office/powerpoint/2010/main" val="2802283459"/>
              </p:ext>
            </p:extLst>
          </p:nvPr>
        </p:nvGraphicFramePr>
        <p:xfrm>
          <a:off x="5298618" y="1783566"/>
          <a:ext cx="632672" cy="2926080"/>
        </p:xfrm>
        <a:graphic>
          <a:graphicData uri="http://schemas.openxmlformats.org/drawingml/2006/chart">
            <c:chart xmlns:c="http://schemas.openxmlformats.org/drawingml/2006/chart" xmlns:r="http://schemas.openxmlformats.org/officeDocument/2006/relationships" r:id="rId12"/>
          </a:graphicData>
        </a:graphic>
      </p:graphicFrame>
      <p:sp>
        <p:nvSpPr>
          <p:cNvPr id="2" name="Footer Placeholder 1">
            <a:extLst>
              <a:ext uri="{FF2B5EF4-FFF2-40B4-BE49-F238E27FC236}">
                <a16:creationId xmlns:a16="http://schemas.microsoft.com/office/drawing/2014/main" id="{0887D232-B22A-FFEB-FFCA-B11AA6D46664}"/>
              </a:ext>
            </a:extLst>
          </p:cNvPr>
          <p:cNvSpPr>
            <a:spLocks noGrp="1"/>
          </p:cNvSpPr>
          <p:nvPr>
            <p:ph type="ftr" sz="quarter" idx="15"/>
          </p:nvPr>
        </p:nvSpPr>
        <p:spPr/>
        <p:txBody>
          <a:bodyPr/>
          <a:lstStyle/>
          <a:p>
            <a:endParaRPr lang="en-US" dirty="0"/>
          </a:p>
        </p:txBody>
      </p:sp>
      <p:sp>
        <p:nvSpPr>
          <p:cNvPr id="3" name="Date Placeholder 2">
            <a:extLst>
              <a:ext uri="{FF2B5EF4-FFF2-40B4-BE49-F238E27FC236}">
                <a16:creationId xmlns:a16="http://schemas.microsoft.com/office/drawing/2014/main" id="{159AEF2C-6E22-BE2B-B1A5-F6377215C778}"/>
              </a:ext>
            </a:extLst>
          </p:cNvPr>
          <p:cNvSpPr>
            <a:spLocks noGrp="1"/>
          </p:cNvSpPr>
          <p:nvPr>
            <p:ph type="dt" sz="half" idx="14"/>
          </p:nvPr>
        </p:nvSpPr>
        <p:spPr/>
        <p:txBody>
          <a:bodyPr/>
          <a:lstStyle/>
          <a:p>
            <a:fld id="{9E29C78F-907C-4671-97E4-87900C39EEBD}" type="datetime1">
              <a:rPr lang="en-US" sz="500" smtClean="0"/>
              <a:t>9/14/2025</a:t>
            </a:fld>
            <a:endParaRPr lang="en-US" sz="500"/>
          </a:p>
        </p:txBody>
      </p:sp>
    </p:spTree>
    <p:extLst>
      <p:ext uri="{BB962C8B-B14F-4D97-AF65-F5344CB8AC3E}">
        <p14:creationId xmlns:p14="http://schemas.microsoft.com/office/powerpoint/2010/main" val="24721974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icingOne Light Template Oct 2024">
  <a:themeElements>
    <a:clrScheme name="PricingOne">
      <a:dk1>
        <a:srgbClr val="575555"/>
      </a:dk1>
      <a:lt1>
        <a:srgbClr val="FFFFFF"/>
      </a:lt1>
      <a:dk2>
        <a:srgbClr val="575555"/>
      </a:dk2>
      <a:lt2>
        <a:srgbClr val="E6E5E5"/>
      </a:lt2>
      <a:accent1>
        <a:srgbClr val="006C6D"/>
      </a:accent1>
      <a:accent2>
        <a:srgbClr val="7ECAC4"/>
      </a:accent2>
      <a:accent3>
        <a:srgbClr val="00A097"/>
      </a:accent3>
      <a:accent4>
        <a:srgbClr val="B8B60D"/>
      </a:accent4>
      <a:accent5>
        <a:srgbClr val="C00000"/>
      </a:accent5>
      <a:accent6>
        <a:srgbClr val="306181"/>
      </a:accent6>
      <a:hlink>
        <a:srgbClr val="0563C1"/>
      </a:hlink>
      <a:folHlink>
        <a:srgbClr val="954F72"/>
      </a:folHlink>
    </a:clrScheme>
    <a:fontScheme name="PricingOne">
      <a:majorFont>
        <a:latin typeface="Nexa"/>
        <a:ea typeface=""/>
        <a:cs typeface="Dubai"/>
      </a:majorFont>
      <a:minorFont>
        <a:latin typeface="Nexa Book"/>
        <a:ea typeface=""/>
        <a:cs typeface="Dubai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lumMod val="95000"/>
          </a:schemeClr>
        </a:solidFill>
        <a:ln>
          <a:noFill/>
        </a:ln>
      </a:spPr>
      <a:bodyPr wrap="none" lIns="108000" tIns="108000" rIns="108000" bIns="108000" rtlCol="0" anchor="ctr">
        <a:spAutoFit/>
      </a:bodyPr>
      <a:lstStyle>
        <a:defPPr algn="l">
          <a:defRPr sz="9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PricingOne Light Template Oct 2024" id="{43E23444-8A1B-409A-8566-D31F3D9D6E16}" vid="{B5C8E441-137C-475B-8CED-9291B669EE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74cf4e4-8a51-432b-9e1b-0ea607ac38ff"/>
    <lcf76f155ced4ddcb4097134ff3c332f xmlns="0ad93b7f-b0cd-4c46-aaaf-ff14495948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7F3A64EFB0E7749864827C4C084DE8D" ma:contentTypeVersion="16" ma:contentTypeDescription="Create a new document." ma:contentTypeScope="" ma:versionID="a492c0260f55a60a54ae1f589b92f830">
  <xsd:schema xmlns:xsd="http://www.w3.org/2001/XMLSchema" xmlns:xs="http://www.w3.org/2001/XMLSchema" xmlns:p="http://schemas.microsoft.com/office/2006/metadata/properties" xmlns:ns2="0ad93b7f-b0cd-4c46-aaaf-ff14495948cf" xmlns:ns3="474cf4e4-8a51-432b-9e1b-0ea607ac38ff" targetNamespace="http://schemas.microsoft.com/office/2006/metadata/properties" ma:root="true" ma:fieldsID="47e8414eaa505a6e294dff4436781a52" ns2:_="" ns3:_="">
    <xsd:import namespace="0ad93b7f-b0cd-4c46-aaaf-ff14495948cf"/>
    <xsd:import namespace="474cf4e4-8a51-432b-9e1b-0ea607ac38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d93b7f-b0cd-4c46-aaaf-ff14495948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57a035a-b75f-4f0a-966d-4a4e026814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4cf4e4-8a51-432b-9e1b-0ea607ac38f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27a1696-6eea-42d4-b4ee-dd827aa5ff17}" ma:internalName="TaxCatchAll" ma:showField="CatchAllData" ma:web="474cf4e4-8a51-432b-9e1b-0ea607ac38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0D3061-614B-40A0-B620-03D3B7FB0B63}">
  <ds:schemaRefs>
    <ds:schemaRef ds:uri="http://purl.org/dc/terms/"/>
    <ds:schemaRef ds:uri="http://schemas.microsoft.com/office/2006/documentManagement/types"/>
    <ds:schemaRef ds:uri="http://purl.org/dc/elements/1.1/"/>
    <ds:schemaRef ds:uri="http://purl.org/dc/dcmitype/"/>
    <ds:schemaRef ds:uri="0ad93b7f-b0cd-4c46-aaaf-ff14495948cf"/>
    <ds:schemaRef ds:uri="474cf4e4-8a51-432b-9e1b-0ea607ac38ff"/>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89120C1-6D3E-44F1-BAD9-DC94978434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d93b7f-b0cd-4c46-aaaf-ff14495948cf"/>
    <ds:schemaRef ds:uri="474cf4e4-8a51-432b-9e1b-0ea607ac38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02A1C8-4964-4CAE-93D2-4FFA7871C1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TotalTime>
  <Words>3591</Words>
  <Application>Microsoft Office PowerPoint</Application>
  <PresentationFormat>On-screen Show (16:9)</PresentationFormat>
  <Paragraphs>1053</Paragraphs>
  <Slides>27</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ptos</vt:lpstr>
      <vt:lpstr>Arial</vt:lpstr>
      <vt:lpstr>Calibri</vt:lpstr>
      <vt:lpstr>Nexa</vt:lpstr>
      <vt:lpstr>Nexa Bold</vt:lpstr>
      <vt:lpstr>Nexa Bold (Headings)</vt:lpstr>
      <vt:lpstr>Nexa Book</vt:lpstr>
      <vt:lpstr>Nexa Book Italic</vt:lpstr>
      <vt:lpstr>Open Sans</vt:lpstr>
      <vt:lpstr>1_PricingOne Light Template Oct 2024</vt:lpstr>
      <vt:lpstr>think-cell Slide</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lpstr>Brackets Analysis By Sector (Replace with SO WH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Share Topline By Size Bracket (Replace With SO WHAT)</dc:title>
  <dc:creator>Bhagya RANASINGHE</dc:creator>
  <cp:lastModifiedBy>Aleaa SALAH</cp:lastModifiedBy>
  <cp:revision>76</cp:revision>
  <dcterms:created xsi:type="dcterms:W3CDTF">2024-07-05T11:30:58Z</dcterms:created>
  <dcterms:modified xsi:type="dcterms:W3CDTF">2025-09-14T07:35: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F3A64EFB0E7749864827C4C084DE8D</vt:lpwstr>
  </property>
  <property fmtid="{D5CDD505-2E9C-101B-9397-08002B2CF9AE}" pid="3" name="MediaServiceImageTags">
    <vt:lpwstr/>
  </property>
</Properties>
</file>